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4"/>
  </p:notesMasterIdLst>
  <p:sldIdLst>
    <p:sldId id="277" r:id="rId3"/>
    <p:sldId id="326" r:id="rId4"/>
    <p:sldId id="2147479493" r:id="rId5"/>
    <p:sldId id="295" r:id="rId6"/>
    <p:sldId id="320" r:id="rId7"/>
    <p:sldId id="315" r:id="rId8"/>
    <p:sldId id="303" r:id="rId9"/>
    <p:sldId id="321" r:id="rId10"/>
    <p:sldId id="322" r:id="rId11"/>
    <p:sldId id="324" r:id="rId12"/>
    <p:sldId id="323" r:id="rId13"/>
    <p:sldId id="287" r:id="rId14"/>
    <p:sldId id="2147479494" r:id="rId15"/>
    <p:sldId id="2147479492" r:id="rId16"/>
    <p:sldId id="2147479496" r:id="rId17"/>
    <p:sldId id="2147479495" r:id="rId18"/>
    <p:sldId id="261" r:id="rId19"/>
    <p:sldId id="262" r:id="rId20"/>
    <p:sldId id="263" r:id="rId21"/>
    <p:sldId id="264" r:id="rId22"/>
    <p:sldId id="2147479497" r:id="rId23"/>
  </p:sldIdLst>
  <p:sldSz cx="9144000" cy="5143500" type="screen16x9"/>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63F4B0-F58B-6B6D-A86E-DFE968A2D35D}" name="Leni Lagerqvist" initials="LL" userId="S::SE2321000073-2CVR@ltkalmar.se::c41cdb4a-f436-46c2-a6c0-9a2b273f94c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B3"/>
    <a:srgbClr val="BC151C"/>
    <a:srgbClr val="EF4044"/>
    <a:srgbClr val="F2CD13"/>
    <a:srgbClr val="B1063A"/>
    <a:srgbClr val="CE1141"/>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3197" autoAdjust="0"/>
    <p:restoredTop sz="90241" autoAdjust="0"/>
  </p:normalViewPr>
  <p:slideViewPr>
    <p:cSldViewPr>
      <p:cViewPr varScale="1">
        <p:scale>
          <a:sx n="114" d="100"/>
          <a:sy n="114" d="100"/>
        </p:scale>
        <p:origin x="216" y="91"/>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50" d="100"/>
        <a:sy n="150" d="100"/>
      </p:scale>
      <p:origin x="0" y="-167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259B960-5E66-4113-B8CC-17A0D5C37366}" type="datetimeFigureOut">
              <a:rPr lang="sv-SE" smtClean="0"/>
              <a:t>2025-05-07</a:t>
            </a:fld>
            <a:endParaRPr lang="sv-SE"/>
          </a:p>
        </p:txBody>
      </p:sp>
      <p:sp>
        <p:nvSpPr>
          <p:cNvPr id="4" name="Platshållare för bildobjekt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3F3291F-9DCB-46ED-BF32-F247FD2AAAAB}" type="slidenum">
              <a:rPr lang="sv-SE" smtClean="0"/>
              <a:t>‹#›</a:t>
            </a:fld>
            <a:endParaRPr lang="sv-SE"/>
          </a:p>
        </p:txBody>
      </p:sp>
    </p:spTree>
    <p:extLst>
      <p:ext uri="{BB962C8B-B14F-4D97-AF65-F5344CB8AC3E}">
        <p14:creationId xmlns:p14="http://schemas.microsoft.com/office/powerpoint/2010/main" val="31277350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sz="1200" dirty="0"/>
          </a:p>
          <a:p>
            <a:endParaRPr lang="sv-SE"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4</a:t>
            </a:fld>
            <a:endParaRPr lang="sv-SE"/>
          </a:p>
        </p:txBody>
      </p:sp>
    </p:spTree>
    <p:extLst>
      <p:ext uri="{BB962C8B-B14F-4D97-AF65-F5344CB8AC3E}">
        <p14:creationId xmlns:p14="http://schemas.microsoft.com/office/powerpoint/2010/main" val="40807300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Krockar med SVN </a:t>
            </a:r>
            <a:r>
              <a:rPr lang="sv-SE" dirty="0" err="1"/>
              <a:t>presidie</a:t>
            </a: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55579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Krockar med SVN </a:t>
            </a:r>
            <a:r>
              <a:rPr lang="sv-SE" dirty="0" err="1"/>
              <a:t>presidie</a:t>
            </a: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995069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Krockar med SVN </a:t>
            </a:r>
            <a:r>
              <a:rPr lang="sv-SE" dirty="0" err="1"/>
              <a:t>presidie</a:t>
            </a: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5588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spcAft>
                <a:spcPts val="600"/>
              </a:spcAft>
            </a:pPr>
            <a:endParaRPr lang="sv-SE"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5</a:t>
            </a:fld>
            <a:endParaRPr lang="sv-SE"/>
          </a:p>
        </p:txBody>
      </p:sp>
    </p:spTree>
    <p:extLst>
      <p:ext uri="{BB962C8B-B14F-4D97-AF65-F5344CB8AC3E}">
        <p14:creationId xmlns:p14="http://schemas.microsoft.com/office/powerpoint/2010/main" val="40951961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spcAft>
                <a:spcPts val="600"/>
              </a:spcAft>
            </a:pPr>
            <a:endParaRPr lang="sv-SE"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6</a:t>
            </a:fld>
            <a:endParaRPr lang="sv-SE"/>
          </a:p>
        </p:txBody>
      </p:sp>
    </p:spTree>
    <p:extLst>
      <p:ext uri="{BB962C8B-B14F-4D97-AF65-F5344CB8AC3E}">
        <p14:creationId xmlns:p14="http://schemas.microsoft.com/office/powerpoint/2010/main" val="91688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7</a:t>
            </a:fld>
            <a:endParaRPr lang="sv-SE"/>
          </a:p>
        </p:txBody>
      </p:sp>
    </p:spTree>
    <p:extLst>
      <p:ext uri="{BB962C8B-B14F-4D97-AF65-F5344CB8AC3E}">
        <p14:creationId xmlns:p14="http://schemas.microsoft.com/office/powerpoint/2010/main" val="697112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8</a:t>
            </a:fld>
            <a:endParaRPr lang="sv-SE"/>
          </a:p>
        </p:txBody>
      </p:sp>
    </p:spTree>
    <p:extLst>
      <p:ext uri="{BB962C8B-B14F-4D97-AF65-F5344CB8AC3E}">
        <p14:creationId xmlns:p14="http://schemas.microsoft.com/office/powerpoint/2010/main" val="121128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9</a:t>
            </a:fld>
            <a:endParaRPr lang="sv-SE"/>
          </a:p>
        </p:txBody>
      </p:sp>
    </p:spTree>
    <p:extLst>
      <p:ext uri="{BB962C8B-B14F-4D97-AF65-F5344CB8AC3E}">
        <p14:creationId xmlns:p14="http://schemas.microsoft.com/office/powerpoint/2010/main" val="8932134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10</a:t>
            </a:fld>
            <a:endParaRPr lang="sv-SE"/>
          </a:p>
        </p:txBody>
      </p:sp>
    </p:spTree>
    <p:extLst>
      <p:ext uri="{BB962C8B-B14F-4D97-AF65-F5344CB8AC3E}">
        <p14:creationId xmlns:p14="http://schemas.microsoft.com/office/powerpoint/2010/main" val="641761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a:p>
        </p:txBody>
      </p:sp>
      <p:sp>
        <p:nvSpPr>
          <p:cNvPr id="4" name="Platshållare för bildnummer 3"/>
          <p:cNvSpPr>
            <a:spLocks noGrp="1"/>
          </p:cNvSpPr>
          <p:nvPr>
            <p:ph type="sldNum" sz="quarter" idx="10"/>
          </p:nvPr>
        </p:nvSpPr>
        <p:spPr/>
        <p:txBody>
          <a:bodyPr/>
          <a:lstStyle/>
          <a:p>
            <a:fld id="{E3F3291F-9DCB-46ED-BF32-F247FD2AAAAB}" type="slidenum">
              <a:rPr lang="sv-SE" smtClean="0"/>
              <a:t>11</a:t>
            </a:fld>
            <a:endParaRPr lang="sv-SE"/>
          </a:p>
        </p:txBody>
      </p:sp>
    </p:spTree>
    <p:extLst>
      <p:ext uri="{BB962C8B-B14F-4D97-AF65-F5344CB8AC3E}">
        <p14:creationId xmlns:p14="http://schemas.microsoft.com/office/powerpoint/2010/main" val="3172572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E3F3291F-9DCB-46ED-BF32-F247FD2AAAAB}" type="slidenum">
              <a:rPr lang="sv-SE" smtClean="0"/>
              <a:t>12</a:t>
            </a:fld>
            <a:endParaRPr lang="sv-SE"/>
          </a:p>
        </p:txBody>
      </p:sp>
    </p:spTree>
    <p:extLst>
      <p:ext uri="{BB962C8B-B14F-4D97-AF65-F5344CB8AC3E}">
        <p14:creationId xmlns:p14="http://schemas.microsoft.com/office/powerpoint/2010/main" val="16305984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685800" y="1597820"/>
            <a:ext cx="7772400" cy="1102519"/>
          </a:xfrm>
        </p:spPr>
        <p:txBody>
          <a:bodyPr/>
          <a:lstStyle>
            <a:lvl1pPr>
              <a:defRPr baseline="0"/>
            </a:lvl1pPr>
          </a:lstStyle>
          <a:p>
            <a:r>
              <a:rPr lang="sv-SE" dirty="0"/>
              <a:t>Klicka här för att fylla i rubrik</a:t>
            </a:r>
          </a:p>
        </p:txBody>
      </p:sp>
    </p:spTree>
    <p:extLst>
      <p:ext uri="{BB962C8B-B14F-4D97-AF65-F5344CB8AC3E}">
        <p14:creationId xmlns:p14="http://schemas.microsoft.com/office/powerpoint/2010/main" val="1158326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Rubrikbild">
    <p:bg>
      <p:bgPr>
        <a:solidFill>
          <a:schemeClr val="accent1"/>
        </a:solidFill>
        <a:effectLst/>
      </p:bgPr>
    </p:bg>
    <p:spTree>
      <p:nvGrpSpPr>
        <p:cNvPr id="1" name=""/>
        <p:cNvGrpSpPr/>
        <p:nvPr/>
      </p:nvGrpSpPr>
      <p:grpSpPr>
        <a:xfrm>
          <a:off x="0" y="0"/>
          <a:ext cx="0" cy="0"/>
          <a:chOff x="0" y="0"/>
          <a:chExt cx="0" cy="0"/>
        </a:xfrm>
      </p:grpSpPr>
      <p:sp>
        <p:nvSpPr>
          <p:cNvPr id="8" name="Bild 6">
            <a:extLst>
              <a:ext uri="{FF2B5EF4-FFF2-40B4-BE49-F238E27FC236}">
                <a16:creationId xmlns:a16="http://schemas.microsoft.com/office/drawing/2014/main" id="{E61FE2F9-2825-4018-AB8F-E0C671E283B9}"/>
              </a:ext>
              <a:ext uri="{C183D7F6-B498-43B3-948B-1728B52AA6E4}">
                <adec:decorative xmlns:adec="http://schemas.microsoft.com/office/drawing/2017/decorative" val="1"/>
              </a:ext>
            </a:extLst>
          </p:cNvPr>
          <p:cNvSpPr/>
          <p:nvPr/>
        </p:nvSpPr>
        <p:spPr>
          <a:xfrm>
            <a:off x="1" y="0"/>
            <a:ext cx="4819283" cy="4862456"/>
          </a:xfrm>
          <a:custGeom>
            <a:avLst/>
            <a:gdLst>
              <a:gd name="connsiteX0" fmla="*/ 1143739 w 6425711"/>
              <a:gd name="connsiteY0" fmla="*/ 1351755 h 6483274"/>
              <a:gd name="connsiteX1" fmla="*/ 0 w 6425711"/>
              <a:gd name="connsiteY1" fmla="*/ 1129129 h 6483274"/>
              <a:gd name="connsiteX2" fmla="*/ 0 w 6425711"/>
              <a:gd name="connsiteY2" fmla="*/ 855021 h 6483274"/>
              <a:gd name="connsiteX3" fmla="*/ 417423 w 6425711"/>
              <a:gd name="connsiteY3" fmla="*/ 936419 h 6483274"/>
              <a:gd name="connsiteX4" fmla="*/ 0 w 6425711"/>
              <a:gd name="connsiteY4" fmla="*/ 460557 h 6483274"/>
              <a:gd name="connsiteX5" fmla="*/ 0 w 6425711"/>
              <a:gd name="connsiteY5" fmla="*/ 52178 h 6483274"/>
              <a:gd name="connsiteX6" fmla="*/ 1143739 w 6425711"/>
              <a:gd name="connsiteY6" fmla="*/ 1351755 h 6483274"/>
              <a:gd name="connsiteX7" fmla="*/ 0 w 6425711"/>
              <a:gd name="connsiteY7" fmla="*/ 2112160 h 6483274"/>
              <a:gd name="connsiteX8" fmla="*/ 0 w 6425711"/>
              <a:gd name="connsiteY8" fmla="*/ 2390442 h 6483274"/>
              <a:gd name="connsiteX9" fmla="*/ 417423 w 6425711"/>
              <a:gd name="connsiteY9" fmla="*/ 2308349 h 6483274"/>
              <a:gd name="connsiteX10" fmla="*/ 0 w 6425711"/>
              <a:gd name="connsiteY10" fmla="*/ 2782820 h 6483274"/>
              <a:gd name="connsiteX11" fmla="*/ 0 w 6425711"/>
              <a:gd name="connsiteY11" fmla="*/ 3191199 h 6483274"/>
              <a:gd name="connsiteX12" fmla="*/ 1143739 w 6425711"/>
              <a:gd name="connsiteY12" fmla="*/ 1891622 h 6483274"/>
              <a:gd name="connsiteX13" fmla="*/ 4140140 w 6425711"/>
              <a:gd name="connsiteY13" fmla="*/ 672747 h 6483274"/>
              <a:gd name="connsiteX14" fmla="*/ 2793951 w 6425711"/>
              <a:gd name="connsiteY14" fmla="*/ 936419 h 6483274"/>
              <a:gd name="connsiteX15" fmla="*/ 3616971 w 6425711"/>
              <a:gd name="connsiteY15" fmla="*/ 0 h 6483274"/>
              <a:gd name="connsiteX16" fmla="*/ 3258682 w 6425711"/>
              <a:gd name="connsiteY16" fmla="*/ 0 h 6483274"/>
              <a:gd name="connsiteX17" fmla="*/ 2069027 w 6425711"/>
              <a:gd name="connsiteY17" fmla="*/ 1351755 h 6483274"/>
              <a:gd name="connsiteX18" fmla="*/ 4193014 w 6425711"/>
              <a:gd name="connsiteY18" fmla="*/ 934332 h 6483274"/>
              <a:gd name="connsiteX19" fmla="*/ 4958290 w 6425711"/>
              <a:gd name="connsiteY19" fmla="*/ 372202 h 6483274"/>
              <a:gd name="connsiteX20" fmla="*/ 5412585 w 6425711"/>
              <a:gd name="connsiteY20" fmla="*/ 0 h 6483274"/>
              <a:gd name="connsiteX21" fmla="*/ 4957594 w 6425711"/>
              <a:gd name="connsiteY21" fmla="*/ 0 h 6483274"/>
              <a:gd name="connsiteX22" fmla="*/ 4140140 w 6425711"/>
              <a:gd name="connsiteY22" fmla="*/ 672747 h 6483274"/>
              <a:gd name="connsiteX23" fmla="*/ 1977194 w 6425711"/>
              <a:gd name="connsiteY23" fmla="*/ 0 h 6483274"/>
              <a:gd name="connsiteX24" fmla="*/ 1692650 w 6425711"/>
              <a:gd name="connsiteY24" fmla="*/ 0 h 6483274"/>
              <a:gd name="connsiteX25" fmla="*/ 1606383 w 6425711"/>
              <a:gd name="connsiteY25" fmla="*/ 252541 h 6483274"/>
              <a:gd name="connsiteX26" fmla="*/ 1519420 w 6425711"/>
              <a:gd name="connsiteY26" fmla="*/ 0 h 6483274"/>
              <a:gd name="connsiteX27" fmla="*/ 1234876 w 6425711"/>
              <a:gd name="connsiteY27" fmla="*/ 0 h 6483274"/>
              <a:gd name="connsiteX28" fmla="*/ 1605687 w 6425711"/>
              <a:gd name="connsiteY28" fmla="*/ 1081821 h 6483274"/>
              <a:gd name="connsiteX29" fmla="*/ 1977194 w 6425711"/>
              <a:gd name="connsiteY29" fmla="*/ 0 h 6483274"/>
              <a:gd name="connsiteX30" fmla="*/ 6425532 w 6425711"/>
              <a:gd name="connsiteY30" fmla="*/ 861978 h 6483274"/>
              <a:gd name="connsiteX31" fmla="*/ 5863402 w 6425711"/>
              <a:gd name="connsiteY31" fmla="*/ 525953 h 6483274"/>
              <a:gd name="connsiteX32" fmla="*/ 6024805 w 6425711"/>
              <a:gd name="connsiteY32" fmla="*/ 0 h 6483274"/>
              <a:gd name="connsiteX33" fmla="*/ 5752785 w 6425711"/>
              <a:gd name="connsiteY33" fmla="*/ 0 h 6483274"/>
              <a:gd name="connsiteX34" fmla="*/ 5370843 w 6425711"/>
              <a:gd name="connsiteY34" fmla="*/ 772928 h 6483274"/>
              <a:gd name="connsiteX35" fmla="*/ 6152120 w 6425711"/>
              <a:gd name="connsiteY35" fmla="*/ 932245 h 6483274"/>
              <a:gd name="connsiteX36" fmla="*/ 5228223 w 6425711"/>
              <a:gd name="connsiteY36" fmla="*/ 1620993 h 6483274"/>
              <a:gd name="connsiteX37" fmla="*/ 6152120 w 6425711"/>
              <a:gd name="connsiteY37" fmla="*/ 2309741 h 6483274"/>
              <a:gd name="connsiteX38" fmla="*/ 5370843 w 6425711"/>
              <a:gd name="connsiteY38" fmla="*/ 2469057 h 6483274"/>
              <a:gd name="connsiteX39" fmla="*/ 5764612 w 6425711"/>
              <a:gd name="connsiteY39" fmla="*/ 3367908 h 6483274"/>
              <a:gd name="connsiteX40" fmla="*/ 4957594 w 6425711"/>
              <a:gd name="connsiteY40" fmla="*/ 2867696 h 6483274"/>
              <a:gd name="connsiteX41" fmla="*/ 4192318 w 6425711"/>
              <a:gd name="connsiteY41" fmla="*/ 2304871 h 6483274"/>
              <a:gd name="connsiteX42" fmla="*/ 2068331 w 6425711"/>
              <a:gd name="connsiteY42" fmla="*/ 1887448 h 6483274"/>
              <a:gd name="connsiteX43" fmla="*/ 3487569 w 6425711"/>
              <a:gd name="connsiteY43" fmla="*/ 3501483 h 6483274"/>
              <a:gd name="connsiteX44" fmla="*/ 4348852 w 6425711"/>
              <a:gd name="connsiteY44" fmla="*/ 3874381 h 6483274"/>
              <a:gd name="connsiteX45" fmla="*/ 5205265 w 6425711"/>
              <a:gd name="connsiteY45" fmla="*/ 4337025 h 6483274"/>
              <a:gd name="connsiteX46" fmla="*/ 4236844 w 6425711"/>
              <a:gd name="connsiteY46" fmla="*/ 4436511 h 6483274"/>
              <a:gd name="connsiteX47" fmla="*/ 4495646 w 6425711"/>
              <a:gd name="connsiteY47" fmla="*/ 5196916 h 6483274"/>
              <a:gd name="connsiteX48" fmla="*/ 3442348 w 6425711"/>
              <a:gd name="connsiteY48" fmla="*/ 4766970 h 6483274"/>
              <a:gd name="connsiteX49" fmla="*/ 3289989 w 6425711"/>
              <a:gd name="connsiteY49" fmla="*/ 5899578 h 6483274"/>
              <a:gd name="connsiteX50" fmla="*/ 2752209 w 6425711"/>
              <a:gd name="connsiteY50" fmla="*/ 5287358 h 6483274"/>
              <a:gd name="connsiteX51" fmla="*/ 2173383 w 6425711"/>
              <a:gd name="connsiteY51" fmla="*/ 6088810 h 6483274"/>
              <a:gd name="connsiteX52" fmla="*/ 2198428 w 6425711"/>
              <a:gd name="connsiteY52" fmla="*/ 5114823 h 6483274"/>
              <a:gd name="connsiteX53" fmla="*/ 2300001 w 6425711"/>
              <a:gd name="connsiteY53" fmla="*/ 4190927 h 6483274"/>
              <a:gd name="connsiteX54" fmla="*/ 1604296 w 6425711"/>
              <a:gd name="connsiteY54" fmla="*/ 2162251 h 6483274"/>
              <a:gd name="connsiteX55" fmla="*/ 908591 w 6425711"/>
              <a:gd name="connsiteY55" fmla="*/ 4190927 h 6483274"/>
              <a:gd name="connsiteX56" fmla="*/ 1010859 w 6425711"/>
              <a:gd name="connsiteY56" fmla="*/ 5115519 h 6483274"/>
              <a:gd name="connsiteX57" fmla="*/ 1035209 w 6425711"/>
              <a:gd name="connsiteY57" fmla="*/ 6089506 h 6483274"/>
              <a:gd name="connsiteX58" fmla="*/ 460557 w 6425711"/>
              <a:gd name="connsiteY58" fmla="*/ 5287358 h 6483274"/>
              <a:gd name="connsiteX59" fmla="*/ 0 w 6425711"/>
              <a:gd name="connsiteY59" fmla="*/ 5873141 h 6483274"/>
              <a:gd name="connsiteX60" fmla="*/ 0 w 6425711"/>
              <a:gd name="connsiteY60" fmla="*/ 6159772 h 6483274"/>
              <a:gd name="connsiteX61" fmla="*/ 427163 w 6425711"/>
              <a:gd name="connsiteY61" fmla="*/ 5840443 h 6483274"/>
              <a:gd name="connsiteX62" fmla="*/ 1168784 w 6425711"/>
              <a:gd name="connsiteY62" fmla="*/ 6483275 h 6483274"/>
              <a:gd name="connsiteX63" fmla="*/ 1168784 w 6425711"/>
              <a:gd name="connsiteY63" fmla="*/ 4275107 h 6483274"/>
              <a:gd name="connsiteX64" fmla="*/ 1607079 w 6425711"/>
              <a:gd name="connsiteY64" fmla="*/ 2989444 h 6483274"/>
              <a:gd name="connsiteX65" fmla="*/ 2045373 w 6425711"/>
              <a:gd name="connsiteY65" fmla="*/ 4275107 h 6483274"/>
              <a:gd name="connsiteX66" fmla="*/ 2045373 w 6425711"/>
              <a:gd name="connsiteY66" fmla="*/ 6483275 h 6483274"/>
              <a:gd name="connsiteX67" fmla="*/ 2782820 w 6425711"/>
              <a:gd name="connsiteY67" fmla="*/ 5843922 h 6483274"/>
              <a:gd name="connsiteX68" fmla="*/ 3363038 w 6425711"/>
              <a:gd name="connsiteY68" fmla="*/ 6178556 h 6483274"/>
              <a:gd name="connsiteX69" fmla="*/ 3772113 w 6425711"/>
              <a:gd name="connsiteY69" fmla="*/ 5349276 h 6483274"/>
              <a:gd name="connsiteX70" fmla="*/ 4691835 w 6425711"/>
              <a:gd name="connsiteY70" fmla="*/ 5404236 h 6483274"/>
              <a:gd name="connsiteX71" fmla="*/ 4691835 w 6425711"/>
              <a:gd name="connsiteY71" fmla="*/ 4748187 h 6483274"/>
              <a:gd name="connsiteX72" fmla="*/ 5603904 w 6425711"/>
              <a:gd name="connsiteY72" fmla="*/ 4428162 h 6483274"/>
              <a:gd name="connsiteX73" fmla="*/ 3685845 w 6425711"/>
              <a:gd name="connsiteY73" fmla="*/ 3330340 h 6483274"/>
              <a:gd name="connsiteX74" fmla="*/ 2793951 w 6425711"/>
              <a:gd name="connsiteY74" fmla="*/ 2304871 h 6483274"/>
              <a:gd name="connsiteX75" fmla="*/ 4140140 w 6425711"/>
              <a:gd name="connsiteY75" fmla="*/ 2569239 h 6483274"/>
              <a:gd name="connsiteX76" fmla="*/ 6037328 w 6425711"/>
              <a:gd name="connsiteY76" fmla="*/ 3680279 h 6483274"/>
              <a:gd name="connsiteX77" fmla="*/ 5863402 w 6425711"/>
              <a:gd name="connsiteY77" fmla="*/ 2715336 h 6483274"/>
              <a:gd name="connsiteX78" fmla="*/ 6425532 w 6425711"/>
              <a:gd name="connsiteY78" fmla="*/ 2380007 h 6483274"/>
              <a:gd name="connsiteX79" fmla="*/ 5892621 w 6425711"/>
              <a:gd name="connsiteY79" fmla="*/ 1620993 h 6483274"/>
              <a:gd name="connsiteX80" fmla="*/ 6425532 w 6425711"/>
              <a:gd name="connsiteY80" fmla="*/ 861978 h 648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6425711" h="6483274">
                <a:moveTo>
                  <a:pt x="1143739" y="1351755"/>
                </a:moveTo>
                <a:lnTo>
                  <a:pt x="0" y="1129129"/>
                </a:lnTo>
                <a:lnTo>
                  <a:pt x="0" y="855021"/>
                </a:lnTo>
                <a:lnTo>
                  <a:pt x="417423" y="936419"/>
                </a:lnTo>
                <a:lnTo>
                  <a:pt x="0" y="460557"/>
                </a:lnTo>
                <a:lnTo>
                  <a:pt x="0" y="52178"/>
                </a:lnTo>
                <a:cubicBezTo>
                  <a:pt x="461948" y="578131"/>
                  <a:pt x="1107562" y="1310708"/>
                  <a:pt x="1143739" y="1351755"/>
                </a:cubicBezTo>
                <a:close/>
                <a:moveTo>
                  <a:pt x="0" y="2112160"/>
                </a:moveTo>
                <a:lnTo>
                  <a:pt x="0" y="2390442"/>
                </a:lnTo>
                <a:lnTo>
                  <a:pt x="417423" y="2308349"/>
                </a:lnTo>
                <a:lnTo>
                  <a:pt x="0" y="2782820"/>
                </a:lnTo>
                <a:lnTo>
                  <a:pt x="0" y="3191199"/>
                </a:lnTo>
                <a:cubicBezTo>
                  <a:pt x="461948" y="2665246"/>
                  <a:pt x="1107562" y="1932668"/>
                  <a:pt x="1143739" y="1891622"/>
                </a:cubicBezTo>
                <a:close/>
                <a:moveTo>
                  <a:pt x="4140140" y="672747"/>
                </a:moveTo>
                <a:cubicBezTo>
                  <a:pt x="3758199" y="749274"/>
                  <a:pt x="3147370" y="868240"/>
                  <a:pt x="2793951" y="936419"/>
                </a:cubicBezTo>
                <a:cubicBezTo>
                  <a:pt x="2957442" y="750666"/>
                  <a:pt x="3350515" y="310284"/>
                  <a:pt x="3616971" y="0"/>
                </a:cubicBezTo>
                <a:lnTo>
                  <a:pt x="3258682" y="0"/>
                </a:lnTo>
                <a:cubicBezTo>
                  <a:pt x="2794647" y="528736"/>
                  <a:pt x="2106595" y="1309317"/>
                  <a:pt x="2069027" y="1351755"/>
                </a:cubicBezTo>
                <a:cubicBezTo>
                  <a:pt x="2138597" y="1338536"/>
                  <a:pt x="3574532" y="1060254"/>
                  <a:pt x="4193014" y="934332"/>
                </a:cubicBezTo>
                <a:cubicBezTo>
                  <a:pt x="4505386" y="871718"/>
                  <a:pt x="4734968" y="617786"/>
                  <a:pt x="4958290" y="372202"/>
                </a:cubicBezTo>
                <a:cubicBezTo>
                  <a:pt x="5079895" y="215638"/>
                  <a:pt x="5235159" y="88431"/>
                  <a:pt x="5412585" y="0"/>
                </a:cubicBezTo>
                <a:lnTo>
                  <a:pt x="4957594" y="0"/>
                </a:lnTo>
                <a:cubicBezTo>
                  <a:pt x="4720359" y="230278"/>
                  <a:pt x="4542258" y="498820"/>
                  <a:pt x="4140140" y="672747"/>
                </a:cubicBezTo>
                <a:close/>
                <a:moveTo>
                  <a:pt x="1977194" y="0"/>
                </a:moveTo>
                <a:lnTo>
                  <a:pt x="1692650" y="0"/>
                </a:lnTo>
                <a:lnTo>
                  <a:pt x="1606383" y="252541"/>
                </a:lnTo>
                <a:cubicBezTo>
                  <a:pt x="1580642" y="178796"/>
                  <a:pt x="1551422" y="92529"/>
                  <a:pt x="1519420" y="0"/>
                </a:cubicBezTo>
                <a:lnTo>
                  <a:pt x="1234876" y="0"/>
                </a:lnTo>
                <a:lnTo>
                  <a:pt x="1605687" y="1081821"/>
                </a:lnTo>
                <a:cubicBezTo>
                  <a:pt x="1618906" y="1043557"/>
                  <a:pt x="1794919" y="531519"/>
                  <a:pt x="1977194" y="0"/>
                </a:cubicBezTo>
                <a:close/>
                <a:moveTo>
                  <a:pt x="6425532" y="861978"/>
                </a:moveTo>
                <a:cubicBezTo>
                  <a:pt x="6326046" y="647006"/>
                  <a:pt x="6067939" y="556564"/>
                  <a:pt x="5863402" y="525953"/>
                </a:cubicBezTo>
                <a:cubicBezTo>
                  <a:pt x="5939486" y="358264"/>
                  <a:pt x="5993730" y="181502"/>
                  <a:pt x="6024805" y="0"/>
                </a:cubicBezTo>
                <a:lnTo>
                  <a:pt x="5752785" y="0"/>
                </a:lnTo>
                <a:cubicBezTo>
                  <a:pt x="5692989" y="285833"/>
                  <a:pt x="5561565" y="551792"/>
                  <a:pt x="5370843" y="772928"/>
                </a:cubicBezTo>
                <a:cubicBezTo>
                  <a:pt x="5603904" y="764580"/>
                  <a:pt x="6042894" y="784755"/>
                  <a:pt x="6152120" y="932245"/>
                </a:cubicBezTo>
                <a:cubicBezTo>
                  <a:pt x="6142380" y="1177829"/>
                  <a:pt x="5608774" y="1513854"/>
                  <a:pt x="5228223" y="1620993"/>
                </a:cubicBezTo>
                <a:cubicBezTo>
                  <a:pt x="5608774" y="1727435"/>
                  <a:pt x="6143076" y="2064852"/>
                  <a:pt x="6152120" y="2309741"/>
                </a:cubicBezTo>
                <a:cubicBezTo>
                  <a:pt x="6043590" y="2457230"/>
                  <a:pt x="5603208" y="2476710"/>
                  <a:pt x="5370843" y="2469057"/>
                </a:cubicBezTo>
                <a:cubicBezTo>
                  <a:pt x="5586512" y="2696552"/>
                  <a:pt x="5768786" y="3132759"/>
                  <a:pt x="5764612" y="3367908"/>
                </a:cubicBezTo>
                <a:cubicBezTo>
                  <a:pt x="5445830" y="3299573"/>
                  <a:pt x="5160617" y="3122790"/>
                  <a:pt x="4957594" y="2867696"/>
                </a:cubicBezTo>
                <a:cubicBezTo>
                  <a:pt x="4734968" y="2622112"/>
                  <a:pt x="4505386" y="2367484"/>
                  <a:pt x="4192318" y="2304871"/>
                </a:cubicBezTo>
                <a:cubicBezTo>
                  <a:pt x="3573837" y="2181731"/>
                  <a:pt x="2135815" y="1903449"/>
                  <a:pt x="2068331" y="1887448"/>
                </a:cubicBezTo>
                <a:cubicBezTo>
                  <a:pt x="2112856" y="1937538"/>
                  <a:pt x="3072929" y="3026317"/>
                  <a:pt x="3487569" y="3501483"/>
                </a:cubicBezTo>
                <a:cubicBezTo>
                  <a:pt x="3696281" y="3736631"/>
                  <a:pt x="4026045" y="3806898"/>
                  <a:pt x="4348852" y="3874381"/>
                </a:cubicBezTo>
                <a:cubicBezTo>
                  <a:pt x="4667485" y="3898731"/>
                  <a:pt x="5057775" y="4138053"/>
                  <a:pt x="5205265" y="4337025"/>
                </a:cubicBezTo>
                <a:cubicBezTo>
                  <a:pt x="5006989" y="4453903"/>
                  <a:pt x="4538084" y="4508864"/>
                  <a:pt x="4236844" y="4436511"/>
                </a:cubicBezTo>
                <a:cubicBezTo>
                  <a:pt x="4359983" y="4635482"/>
                  <a:pt x="4567304" y="5034817"/>
                  <a:pt x="4495646" y="5196916"/>
                </a:cubicBezTo>
                <a:cubicBezTo>
                  <a:pt x="4261193" y="5318664"/>
                  <a:pt x="3742893" y="5062645"/>
                  <a:pt x="3442348" y="4766970"/>
                </a:cubicBezTo>
                <a:cubicBezTo>
                  <a:pt x="3547400" y="5174653"/>
                  <a:pt x="3507049" y="5761133"/>
                  <a:pt x="3289989" y="5899578"/>
                </a:cubicBezTo>
                <a:cubicBezTo>
                  <a:pt x="3108410" y="5878011"/>
                  <a:pt x="2863522" y="5496069"/>
                  <a:pt x="2752209" y="5287358"/>
                </a:cubicBezTo>
                <a:cubicBezTo>
                  <a:pt x="2663159" y="5589294"/>
                  <a:pt x="2378615" y="5970540"/>
                  <a:pt x="2173383" y="6088810"/>
                </a:cubicBezTo>
                <a:cubicBezTo>
                  <a:pt x="2077375" y="5859923"/>
                  <a:pt x="2061374" y="5402845"/>
                  <a:pt x="2198428" y="5114823"/>
                </a:cubicBezTo>
                <a:cubicBezTo>
                  <a:pt x="2297914" y="4807321"/>
                  <a:pt x="2400878" y="4488688"/>
                  <a:pt x="2300001" y="4190927"/>
                </a:cubicBezTo>
                <a:cubicBezTo>
                  <a:pt x="2097551" y="3590533"/>
                  <a:pt x="1627950" y="2226256"/>
                  <a:pt x="1604296" y="2162251"/>
                </a:cubicBezTo>
                <a:cubicBezTo>
                  <a:pt x="1582729" y="2226256"/>
                  <a:pt x="1117302" y="3591229"/>
                  <a:pt x="908591" y="4190927"/>
                </a:cubicBezTo>
                <a:cubicBezTo>
                  <a:pt x="808409" y="4489384"/>
                  <a:pt x="908591" y="4807321"/>
                  <a:pt x="1010859" y="5115519"/>
                </a:cubicBezTo>
                <a:cubicBezTo>
                  <a:pt x="1150000" y="5408410"/>
                  <a:pt x="1131216" y="5859923"/>
                  <a:pt x="1035209" y="6089506"/>
                </a:cubicBezTo>
                <a:cubicBezTo>
                  <a:pt x="834846" y="5969844"/>
                  <a:pt x="549607" y="5588598"/>
                  <a:pt x="460557" y="5287358"/>
                </a:cubicBezTo>
                <a:cubicBezTo>
                  <a:pt x="364549" y="5468241"/>
                  <a:pt x="169056" y="5774351"/>
                  <a:pt x="0" y="5873141"/>
                </a:cubicBezTo>
                <a:lnTo>
                  <a:pt x="0" y="6159772"/>
                </a:lnTo>
                <a:cubicBezTo>
                  <a:pt x="182275" y="6108985"/>
                  <a:pt x="340200" y="5951060"/>
                  <a:pt x="427163" y="5840443"/>
                </a:cubicBezTo>
                <a:cubicBezTo>
                  <a:pt x="775015" y="6311436"/>
                  <a:pt x="973987" y="6360135"/>
                  <a:pt x="1168784" y="6483275"/>
                </a:cubicBezTo>
                <a:cubicBezTo>
                  <a:pt x="1715609" y="5412585"/>
                  <a:pt x="1077647" y="5146130"/>
                  <a:pt x="1168784" y="4275107"/>
                </a:cubicBezTo>
                <a:cubicBezTo>
                  <a:pt x="1284967" y="3927255"/>
                  <a:pt x="1468633" y="3392257"/>
                  <a:pt x="1607079" y="2989444"/>
                </a:cubicBezTo>
                <a:cubicBezTo>
                  <a:pt x="1723261" y="3327557"/>
                  <a:pt x="1922929" y="3911253"/>
                  <a:pt x="2045373" y="4275107"/>
                </a:cubicBezTo>
                <a:cubicBezTo>
                  <a:pt x="2133032" y="5139173"/>
                  <a:pt x="1500636" y="5432760"/>
                  <a:pt x="2045373" y="6483275"/>
                </a:cubicBezTo>
                <a:cubicBezTo>
                  <a:pt x="2238083" y="6360831"/>
                  <a:pt x="2434968" y="6310740"/>
                  <a:pt x="2782820" y="5843922"/>
                </a:cubicBezTo>
                <a:cubicBezTo>
                  <a:pt x="2893437" y="5983063"/>
                  <a:pt x="3119541" y="6202906"/>
                  <a:pt x="3363038" y="6178556"/>
                </a:cubicBezTo>
                <a:cubicBezTo>
                  <a:pt x="3571750" y="6063765"/>
                  <a:pt x="3751937" y="5785483"/>
                  <a:pt x="3772113" y="5349276"/>
                </a:cubicBezTo>
                <a:cubicBezTo>
                  <a:pt x="4156838" y="5548247"/>
                  <a:pt x="4487297" y="5530159"/>
                  <a:pt x="4691835" y="5404236"/>
                </a:cubicBezTo>
                <a:cubicBezTo>
                  <a:pt x="4826106" y="5212222"/>
                  <a:pt x="4771841" y="4942984"/>
                  <a:pt x="4691835" y="4748187"/>
                </a:cubicBezTo>
                <a:cubicBezTo>
                  <a:pt x="5266487" y="4678616"/>
                  <a:pt x="5404237" y="4535301"/>
                  <a:pt x="5603904" y="4428162"/>
                </a:cubicBezTo>
                <a:cubicBezTo>
                  <a:pt x="4964551" y="3420086"/>
                  <a:pt x="4388508" y="3838900"/>
                  <a:pt x="3685845" y="3330340"/>
                </a:cubicBezTo>
                <a:cubicBezTo>
                  <a:pt x="3439566" y="3038839"/>
                  <a:pt x="3031187" y="2574108"/>
                  <a:pt x="2793951" y="2304871"/>
                </a:cubicBezTo>
                <a:cubicBezTo>
                  <a:pt x="3150848" y="2374441"/>
                  <a:pt x="3767938" y="2494102"/>
                  <a:pt x="4140140" y="2569239"/>
                </a:cubicBezTo>
                <a:cubicBezTo>
                  <a:pt x="4918634" y="2905960"/>
                  <a:pt x="4873414" y="3617666"/>
                  <a:pt x="6037328" y="3680279"/>
                </a:cubicBezTo>
                <a:cubicBezTo>
                  <a:pt x="6032458" y="3452784"/>
                  <a:pt x="6092289" y="3253116"/>
                  <a:pt x="5863402" y="2715336"/>
                </a:cubicBezTo>
                <a:cubicBezTo>
                  <a:pt x="6067939" y="2684726"/>
                  <a:pt x="6326046" y="2594980"/>
                  <a:pt x="6425532" y="2380007"/>
                </a:cubicBezTo>
                <a:cubicBezTo>
                  <a:pt x="6431793" y="2146946"/>
                  <a:pt x="6274564" y="1861707"/>
                  <a:pt x="5892621" y="1620993"/>
                </a:cubicBezTo>
                <a:cubicBezTo>
                  <a:pt x="6275259" y="1380279"/>
                  <a:pt x="6431793" y="1095040"/>
                  <a:pt x="6425532" y="861978"/>
                </a:cubicBezTo>
                <a:close/>
              </a:path>
            </a:pathLst>
          </a:custGeom>
          <a:solidFill>
            <a:srgbClr val="FFFFFF">
              <a:alpha val="5000"/>
            </a:srgbClr>
          </a:solidFill>
          <a:ln w="69470" cap="flat">
            <a:noFill/>
            <a:prstDash val="solid"/>
            <a:miter/>
          </a:ln>
        </p:spPr>
        <p:txBody>
          <a:bodyPr rtlCol="0" anchor="ctr"/>
          <a:lstStyle/>
          <a:p>
            <a:endParaRPr lang="sv-SE" sz="1350" dirty="0"/>
          </a:p>
        </p:txBody>
      </p:sp>
      <p:sp>
        <p:nvSpPr>
          <p:cNvPr id="2" name="Rubrik 1">
            <a:extLst>
              <a:ext uri="{FF2B5EF4-FFF2-40B4-BE49-F238E27FC236}">
                <a16:creationId xmlns:a16="http://schemas.microsoft.com/office/drawing/2014/main" id="{238D417C-D98B-42D1-8332-541A31DFF270}"/>
              </a:ext>
            </a:extLst>
          </p:cNvPr>
          <p:cNvSpPr>
            <a:spLocks noGrp="1"/>
          </p:cNvSpPr>
          <p:nvPr>
            <p:ph type="ctrTitle" hasCustomPrompt="1"/>
          </p:nvPr>
        </p:nvSpPr>
        <p:spPr>
          <a:xfrm>
            <a:off x="810000" y="895031"/>
            <a:ext cx="6805238" cy="1084612"/>
          </a:xfrm>
        </p:spPr>
        <p:txBody>
          <a:bodyPr anchor="b"/>
          <a:lstStyle>
            <a:lvl1pPr algn="l">
              <a:defRPr sz="3000">
                <a:solidFill>
                  <a:schemeClr val="bg1"/>
                </a:solidFill>
                <a:latin typeface="+mn-lt"/>
              </a:defRPr>
            </a:lvl1pPr>
          </a:lstStyle>
          <a:p>
            <a:r>
              <a:rPr lang="sv-SE" dirty="0"/>
              <a:t>Klicka och skriv titel</a:t>
            </a:r>
          </a:p>
        </p:txBody>
      </p:sp>
      <p:sp>
        <p:nvSpPr>
          <p:cNvPr id="3" name="Underrubrik 2">
            <a:extLst>
              <a:ext uri="{FF2B5EF4-FFF2-40B4-BE49-F238E27FC236}">
                <a16:creationId xmlns:a16="http://schemas.microsoft.com/office/drawing/2014/main" id="{D716B026-314C-4514-80D8-702DADFD4090}"/>
              </a:ext>
            </a:extLst>
          </p:cNvPr>
          <p:cNvSpPr>
            <a:spLocks noGrp="1"/>
          </p:cNvSpPr>
          <p:nvPr>
            <p:ph type="subTitle" idx="1" hasCustomPrompt="1"/>
          </p:nvPr>
        </p:nvSpPr>
        <p:spPr>
          <a:xfrm>
            <a:off x="810000" y="2127829"/>
            <a:ext cx="6805238" cy="635153"/>
          </a:xfrm>
        </p:spPr>
        <p:txBody>
          <a:bodyPr/>
          <a:lstStyle>
            <a:lvl1pPr marL="0" indent="0" algn="l">
              <a:lnSpc>
                <a:spcPct val="100000"/>
              </a:lnSpc>
              <a:spcBef>
                <a:spcPts val="0"/>
              </a:spcBef>
              <a:buNone/>
              <a:defRPr sz="180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dirty="0"/>
              <a:t>Klicka och skriv underrubrik eller namn på presentatör</a:t>
            </a:r>
          </a:p>
        </p:txBody>
      </p:sp>
      <p:sp>
        <p:nvSpPr>
          <p:cNvPr id="6" name="Datum för presentation">
            <a:extLst>
              <a:ext uri="{FF2B5EF4-FFF2-40B4-BE49-F238E27FC236}">
                <a16:creationId xmlns:a16="http://schemas.microsoft.com/office/drawing/2014/main" id="{77D137F8-D0E5-4846-93B8-A45B22BBE52B}"/>
              </a:ext>
              <a:ext uri="{C183D7F6-B498-43B3-948B-1728B52AA6E4}">
                <adec:decorative xmlns:adec="http://schemas.microsoft.com/office/drawing/2017/decorative" val="0"/>
              </a:ext>
            </a:extLst>
          </p:cNvPr>
          <p:cNvSpPr>
            <a:spLocks noGrp="1"/>
          </p:cNvSpPr>
          <p:nvPr>
            <p:ph type="body" sz="quarter" idx="10" hasCustomPrompt="1"/>
          </p:nvPr>
        </p:nvSpPr>
        <p:spPr>
          <a:xfrm>
            <a:off x="217804" y="4734028"/>
            <a:ext cx="1783229" cy="216000"/>
          </a:xfrm>
        </p:spPr>
        <p:txBody>
          <a:bodyPr anchor="b" anchorCtr="0">
            <a:normAutofit/>
          </a:bodyPr>
          <a:lstStyle>
            <a:lvl1pPr marL="0" indent="0">
              <a:buNone/>
              <a:defRPr sz="1050">
                <a:solidFill>
                  <a:schemeClr val="bg1"/>
                </a:solidFill>
                <a:latin typeface="+mj-lt"/>
              </a:defRPr>
            </a:lvl1pPr>
            <a:lvl2pPr marL="176138" indent="0">
              <a:buNone/>
              <a:defRPr/>
            </a:lvl2pPr>
            <a:lvl3pPr marL="377354" indent="0">
              <a:buNone/>
              <a:defRPr/>
            </a:lvl3pPr>
            <a:lvl4pPr marL="567000" indent="0">
              <a:buNone/>
              <a:defRPr/>
            </a:lvl4pPr>
            <a:lvl5pPr marL="779785" indent="0">
              <a:buNone/>
              <a:defRPr/>
            </a:lvl5pPr>
          </a:lstStyle>
          <a:p>
            <a:pPr lvl="0"/>
            <a:r>
              <a:rPr lang="sv-SE" dirty="0"/>
              <a:t>Klicka och skriv datum</a:t>
            </a:r>
          </a:p>
        </p:txBody>
      </p:sp>
      <p:grpSp>
        <p:nvGrpSpPr>
          <p:cNvPr id="10" name="Region Östergötland">
            <a:extLst>
              <a:ext uri="{FF2B5EF4-FFF2-40B4-BE49-F238E27FC236}">
                <a16:creationId xmlns:a16="http://schemas.microsoft.com/office/drawing/2014/main" id="{52C7AC2A-FA4A-46E8-A095-0375AD9C8B21}"/>
              </a:ext>
              <a:ext uri="{C183D7F6-B498-43B3-948B-1728B52AA6E4}">
                <adec:decorative xmlns:adec="http://schemas.microsoft.com/office/drawing/2017/decorative" val="1"/>
              </a:ext>
            </a:extLst>
          </p:cNvPr>
          <p:cNvGrpSpPr/>
          <p:nvPr userDrawn="1"/>
        </p:nvGrpSpPr>
        <p:grpSpPr>
          <a:xfrm>
            <a:off x="7930585" y="4673844"/>
            <a:ext cx="1212485" cy="324838"/>
            <a:chOff x="10580645" y="6231792"/>
            <a:chExt cx="1616646" cy="433117"/>
          </a:xfrm>
        </p:grpSpPr>
        <p:sp>
          <p:nvSpPr>
            <p:cNvPr id="11" name="Frihandsfigur: Form 10">
              <a:extLst>
                <a:ext uri="{FF2B5EF4-FFF2-40B4-BE49-F238E27FC236}">
                  <a16:creationId xmlns:a16="http://schemas.microsoft.com/office/drawing/2014/main" id="{AD1820C4-8E69-492C-AB91-2EAB843CDE4B}"/>
                </a:ext>
              </a:extLst>
            </p:cNvPr>
            <p:cNvSpPr/>
            <p:nvPr userDrawn="1"/>
          </p:nvSpPr>
          <p:spPr>
            <a:xfrm>
              <a:off x="10580645" y="6231792"/>
              <a:ext cx="1616646" cy="433117"/>
            </a:xfrm>
            <a:custGeom>
              <a:avLst/>
              <a:gdLst>
                <a:gd name="connsiteX0" fmla="*/ 216372 w 1616646"/>
                <a:gd name="connsiteY0" fmla="*/ 0 h 433117"/>
                <a:gd name="connsiteX1" fmla="*/ 1616646 w 1616646"/>
                <a:gd name="connsiteY1" fmla="*/ 0 h 433117"/>
                <a:gd name="connsiteX2" fmla="*/ 1616646 w 1616646"/>
                <a:gd name="connsiteY2" fmla="*/ 0 h 433117"/>
                <a:gd name="connsiteX3" fmla="*/ 1616646 w 1616646"/>
                <a:gd name="connsiteY3" fmla="*/ 433117 h 433117"/>
                <a:gd name="connsiteX4" fmla="*/ 1616646 w 1616646"/>
                <a:gd name="connsiteY4" fmla="*/ 433117 h 433117"/>
                <a:gd name="connsiteX5" fmla="*/ 216372 w 1616646"/>
                <a:gd name="connsiteY5" fmla="*/ 433117 h 433117"/>
                <a:gd name="connsiteX6" fmla="*/ 0 w 1616646"/>
                <a:gd name="connsiteY6" fmla="*/ 216372 h 433117"/>
                <a:gd name="connsiteX7" fmla="*/ 0 w 1616646"/>
                <a:gd name="connsiteY7" fmla="*/ 216372 h 433117"/>
                <a:gd name="connsiteX8" fmla="*/ 0 w 1616646"/>
                <a:gd name="connsiteY8" fmla="*/ 216372 h 433117"/>
                <a:gd name="connsiteX9" fmla="*/ 216372 w 1616646"/>
                <a:gd name="connsiteY9" fmla="*/ 0 h 433117"/>
                <a:gd name="connsiteX10" fmla="*/ 216372 w 1616646"/>
                <a:gd name="connsiteY10" fmla="*/ 0 h 43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646" h="433117">
                  <a:moveTo>
                    <a:pt x="216372" y="0"/>
                  </a:moveTo>
                  <a:lnTo>
                    <a:pt x="1616646" y="0"/>
                  </a:lnTo>
                  <a:lnTo>
                    <a:pt x="1616646" y="0"/>
                  </a:lnTo>
                  <a:lnTo>
                    <a:pt x="1616646" y="433117"/>
                  </a:lnTo>
                  <a:lnTo>
                    <a:pt x="1616646" y="433117"/>
                  </a:lnTo>
                  <a:lnTo>
                    <a:pt x="216372" y="433117"/>
                  </a:lnTo>
                  <a:cubicBezTo>
                    <a:pt x="96827" y="433117"/>
                    <a:pt x="0" y="335917"/>
                    <a:pt x="0" y="216372"/>
                  </a:cubicBezTo>
                  <a:cubicBezTo>
                    <a:pt x="0" y="216372"/>
                    <a:pt x="0" y="216372"/>
                    <a:pt x="0" y="216372"/>
                  </a:cubicBezTo>
                  <a:lnTo>
                    <a:pt x="0" y="216372"/>
                  </a:lnTo>
                  <a:cubicBezTo>
                    <a:pt x="0" y="96828"/>
                    <a:pt x="96827" y="0"/>
                    <a:pt x="216372" y="0"/>
                  </a:cubicBezTo>
                  <a:cubicBezTo>
                    <a:pt x="216372" y="0"/>
                    <a:pt x="216372" y="0"/>
                    <a:pt x="216372" y="0"/>
                  </a:cubicBezTo>
                  <a:close/>
                </a:path>
              </a:pathLst>
            </a:custGeom>
            <a:solidFill>
              <a:srgbClr val="0861CE"/>
            </a:solidFill>
            <a:ln w="3709" cap="flat">
              <a:noFill/>
              <a:prstDash val="solid"/>
              <a:miter/>
            </a:ln>
          </p:spPr>
          <p:txBody>
            <a:bodyPr rtlCol="0" anchor="ctr"/>
            <a:lstStyle/>
            <a:p>
              <a:endParaRPr lang="sv-SE" sz="1350"/>
            </a:p>
          </p:txBody>
        </p:sp>
        <p:sp>
          <p:nvSpPr>
            <p:cNvPr id="12" name="Frihandsfigur: Form 11">
              <a:extLst>
                <a:ext uri="{FF2B5EF4-FFF2-40B4-BE49-F238E27FC236}">
                  <a16:creationId xmlns:a16="http://schemas.microsoft.com/office/drawing/2014/main" id="{3A17F3C8-E4C3-4E3D-9541-5609917EEC96}"/>
                </a:ext>
              </a:extLst>
            </p:cNvPr>
            <p:cNvSpPr/>
            <p:nvPr/>
          </p:nvSpPr>
          <p:spPr>
            <a:xfrm>
              <a:off x="10647288" y="6298826"/>
              <a:ext cx="1254307" cy="298698"/>
            </a:xfrm>
            <a:custGeom>
              <a:avLst/>
              <a:gdLst>
                <a:gd name="connsiteX0" fmla="*/ 1053948 w 1254307"/>
                <a:gd name="connsiteY0" fmla="*/ 221958 h 298698"/>
                <a:gd name="connsiteX1" fmla="*/ 1027135 w 1254307"/>
                <a:gd name="connsiteY1" fmla="*/ 228662 h 298698"/>
                <a:gd name="connsiteX2" fmla="*/ 1023783 w 1254307"/>
                <a:gd name="connsiteY2" fmla="*/ 237972 h 298698"/>
                <a:gd name="connsiteX3" fmla="*/ 1039424 w 1254307"/>
                <a:gd name="connsiteY3" fmla="*/ 251379 h 298698"/>
                <a:gd name="connsiteX4" fmla="*/ 1057672 w 1254307"/>
                <a:gd name="connsiteY4" fmla="*/ 245793 h 298698"/>
                <a:gd name="connsiteX5" fmla="*/ 1058417 w 1254307"/>
                <a:gd name="connsiteY5" fmla="*/ 245420 h 298698"/>
                <a:gd name="connsiteX6" fmla="*/ 1058790 w 1254307"/>
                <a:gd name="connsiteY6" fmla="*/ 245048 h 298698"/>
                <a:gd name="connsiteX7" fmla="*/ 1058790 w 1254307"/>
                <a:gd name="connsiteY7" fmla="*/ 221958 h 298698"/>
                <a:gd name="connsiteX8" fmla="*/ 1221535 w 1254307"/>
                <a:gd name="connsiteY8" fmla="*/ 191793 h 298698"/>
                <a:gd name="connsiteX9" fmla="*/ 1196210 w 1254307"/>
                <a:gd name="connsiteY9" fmla="*/ 221958 h 298698"/>
                <a:gd name="connsiteX10" fmla="*/ 1219300 w 1254307"/>
                <a:gd name="connsiteY10" fmla="*/ 250262 h 298698"/>
                <a:gd name="connsiteX11" fmla="*/ 1236059 w 1254307"/>
                <a:gd name="connsiteY11" fmla="*/ 244676 h 298698"/>
                <a:gd name="connsiteX12" fmla="*/ 1236804 w 1254307"/>
                <a:gd name="connsiteY12" fmla="*/ 244303 h 298698"/>
                <a:gd name="connsiteX13" fmla="*/ 1237176 w 1254307"/>
                <a:gd name="connsiteY13" fmla="*/ 196634 h 298698"/>
                <a:gd name="connsiteX14" fmla="*/ 1236804 w 1254307"/>
                <a:gd name="connsiteY14" fmla="*/ 196262 h 298698"/>
                <a:gd name="connsiteX15" fmla="*/ 1221535 w 1254307"/>
                <a:gd name="connsiteY15" fmla="*/ 191793 h 298698"/>
                <a:gd name="connsiteX16" fmla="*/ 850239 w 1254307"/>
                <a:gd name="connsiteY16" fmla="*/ 191793 h 298698"/>
                <a:gd name="connsiteX17" fmla="*/ 827521 w 1254307"/>
                <a:gd name="connsiteY17" fmla="*/ 220841 h 298698"/>
                <a:gd name="connsiteX18" fmla="*/ 850983 w 1254307"/>
                <a:gd name="connsiteY18" fmla="*/ 250634 h 298698"/>
                <a:gd name="connsiteX19" fmla="*/ 873328 w 1254307"/>
                <a:gd name="connsiteY19" fmla="*/ 221586 h 298698"/>
                <a:gd name="connsiteX20" fmla="*/ 850239 w 1254307"/>
                <a:gd name="connsiteY20" fmla="*/ 191793 h 298698"/>
                <a:gd name="connsiteX21" fmla="*/ 761232 w 1254307"/>
                <a:gd name="connsiteY21" fmla="*/ 191793 h 298698"/>
                <a:gd name="connsiteX22" fmla="*/ 735907 w 1254307"/>
                <a:gd name="connsiteY22" fmla="*/ 221213 h 298698"/>
                <a:gd name="connsiteX23" fmla="*/ 758625 w 1254307"/>
                <a:gd name="connsiteY23" fmla="*/ 248772 h 298698"/>
                <a:gd name="connsiteX24" fmla="*/ 776500 w 1254307"/>
                <a:gd name="connsiteY24" fmla="*/ 242813 h 298698"/>
                <a:gd name="connsiteX25" fmla="*/ 776500 w 1254307"/>
                <a:gd name="connsiteY25" fmla="*/ 195144 h 298698"/>
                <a:gd name="connsiteX26" fmla="*/ 776128 w 1254307"/>
                <a:gd name="connsiteY26" fmla="*/ 194772 h 298698"/>
                <a:gd name="connsiteX27" fmla="*/ 761232 w 1254307"/>
                <a:gd name="connsiteY27" fmla="*/ 191793 h 298698"/>
                <a:gd name="connsiteX28" fmla="*/ 611893 w 1254307"/>
                <a:gd name="connsiteY28" fmla="*/ 190675 h 298698"/>
                <a:gd name="connsiteX29" fmla="*/ 589549 w 1254307"/>
                <a:gd name="connsiteY29" fmla="*/ 213020 h 298698"/>
                <a:gd name="connsiteX30" fmla="*/ 589549 w 1254307"/>
                <a:gd name="connsiteY30" fmla="*/ 213765 h 298698"/>
                <a:gd name="connsiteX31" fmla="*/ 630514 w 1254307"/>
                <a:gd name="connsiteY31" fmla="*/ 213765 h 298698"/>
                <a:gd name="connsiteX32" fmla="*/ 630514 w 1254307"/>
                <a:gd name="connsiteY32" fmla="*/ 213020 h 298698"/>
                <a:gd name="connsiteX33" fmla="*/ 611893 w 1254307"/>
                <a:gd name="connsiteY33" fmla="*/ 190675 h 298698"/>
                <a:gd name="connsiteX34" fmla="*/ 467770 w 1254307"/>
                <a:gd name="connsiteY34" fmla="*/ 178014 h 298698"/>
                <a:gd name="connsiteX35" fmla="*/ 493839 w 1254307"/>
                <a:gd name="connsiteY35" fmla="*/ 185090 h 298698"/>
                <a:gd name="connsiteX36" fmla="*/ 487880 w 1254307"/>
                <a:gd name="connsiteY36" fmla="*/ 195890 h 298698"/>
                <a:gd name="connsiteX37" fmla="*/ 468887 w 1254307"/>
                <a:gd name="connsiteY37" fmla="*/ 190676 h 298698"/>
                <a:gd name="connsiteX38" fmla="*/ 454735 w 1254307"/>
                <a:gd name="connsiteY38" fmla="*/ 201104 h 298698"/>
                <a:gd name="connsiteX39" fmla="*/ 469632 w 1254307"/>
                <a:gd name="connsiteY39" fmla="*/ 213766 h 298698"/>
                <a:gd name="connsiteX40" fmla="*/ 470749 w 1254307"/>
                <a:gd name="connsiteY40" fmla="*/ 214138 h 298698"/>
                <a:gd name="connsiteX41" fmla="*/ 494956 w 1254307"/>
                <a:gd name="connsiteY41" fmla="*/ 239835 h 298698"/>
                <a:gd name="connsiteX42" fmla="*/ 464046 w 1254307"/>
                <a:gd name="connsiteY42" fmla="*/ 264787 h 298698"/>
                <a:gd name="connsiteX43" fmla="*/ 434625 w 1254307"/>
                <a:gd name="connsiteY43" fmla="*/ 256593 h 298698"/>
                <a:gd name="connsiteX44" fmla="*/ 440584 w 1254307"/>
                <a:gd name="connsiteY44" fmla="*/ 245421 h 298698"/>
                <a:gd name="connsiteX45" fmla="*/ 462184 w 1254307"/>
                <a:gd name="connsiteY45" fmla="*/ 251752 h 298698"/>
                <a:gd name="connsiteX46" fmla="*/ 477453 w 1254307"/>
                <a:gd name="connsiteY46" fmla="*/ 240580 h 298698"/>
                <a:gd name="connsiteX47" fmla="*/ 461811 w 1254307"/>
                <a:gd name="connsiteY47" fmla="*/ 227545 h 298698"/>
                <a:gd name="connsiteX48" fmla="*/ 459204 w 1254307"/>
                <a:gd name="connsiteY48" fmla="*/ 226428 h 298698"/>
                <a:gd name="connsiteX49" fmla="*/ 437604 w 1254307"/>
                <a:gd name="connsiteY49" fmla="*/ 202221 h 298698"/>
                <a:gd name="connsiteX50" fmla="*/ 467770 w 1254307"/>
                <a:gd name="connsiteY50" fmla="*/ 178014 h 298698"/>
                <a:gd name="connsiteX51" fmla="*/ 1134762 w 1254307"/>
                <a:gd name="connsiteY51" fmla="*/ 177641 h 298698"/>
                <a:gd name="connsiteX52" fmla="*/ 1155245 w 1254307"/>
                <a:gd name="connsiteY52" fmla="*/ 185089 h 298698"/>
                <a:gd name="connsiteX53" fmla="*/ 1163438 w 1254307"/>
                <a:gd name="connsiteY53" fmla="*/ 215627 h 298698"/>
                <a:gd name="connsiteX54" fmla="*/ 1163438 w 1254307"/>
                <a:gd name="connsiteY54" fmla="*/ 262551 h 298698"/>
                <a:gd name="connsiteX55" fmla="*/ 1146307 w 1254307"/>
                <a:gd name="connsiteY55" fmla="*/ 262551 h 298698"/>
                <a:gd name="connsiteX56" fmla="*/ 1146307 w 1254307"/>
                <a:gd name="connsiteY56" fmla="*/ 217489 h 298698"/>
                <a:gd name="connsiteX57" fmla="*/ 1142210 w 1254307"/>
                <a:gd name="connsiteY57" fmla="*/ 196262 h 298698"/>
                <a:gd name="connsiteX58" fmla="*/ 1131038 w 1254307"/>
                <a:gd name="connsiteY58" fmla="*/ 192538 h 298698"/>
                <a:gd name="connsiteX59" fmla="*/ 1112045 w 1254307"/>
                <a:gd name="connsiteY59" fmla="*/ 198869 h 298698"/>
                <a:gd name="connsiteX60" fmla="*/ 1111672 w 1254307"/>
                <a:gd name="connsiteY60" fmla="*/ 199241 h 298698"/>
                <a:gd name="connsiteX61" fmla="*/ 1111672 w 1254307"/>
                <a:gd name="connsiteY61" fmla="*/ 262924 h 298698"/>
                <a:gd name="connsiteX62" fmla="*/ 1094169 w 1254307"/>
                <a:gd name="connsiteY62" fmla="*/ 262924 h 298698"/>
                <a:gd name="connsiteX63" fmla="*/ 1094169 w 1254307"/>
                <a:gd name="connsiteY63" fmla="*/ 180248 h 298698"/>
                <a:gd name="connsiteX64" fmla="*/ 1109066 w 1254307"/>
                <a:gd name="connsiteY64" fmla="*/ 180248 h 298698"/>
                <a:gd name="connsiteX65" fmla="*/ 1109066 w 1254307"/>
                <a:gd name="connsiteY65" fmla="*/ 187324 h 298698"/>
                <a:gd name="connsiteX66" fmla="*/ 1110183 w 1254307"/>
                <a:gd name="connsiteY66" fmla="*/ 186207 h 298698"/>
                <a:gd name="connsiteX67" fmla="*/ 1134762 w 1254307"/>
                <a:gd name="connsiteY67" fmla="*/ 177641 h 298698"/>
                <a:gd name="connsiteX68" fmla="*/ 1043148 w 1254307"/>
                <a:gd name="connsiteY68" fmla="*/ 177641 h 298698"/>
                <a:gd name="connsiteX69" fmla="*/ 1068845 w 1254307"/>
                <a:gd name="connsiteY69" fmla="*/ 186207 h 298698"/>
                <a:gd name="connsiteX70" fmla="*/ 1074804 w 1254307"/>
                <a:gd name="connsiteY70" fmla="*/ 211531 h 298698"/>
                <a:gd name="connsiteX71" fmla="*/ 1074804 w 1254307"/>
                <a:gd name="connsiteY71" fmla="*/ 262924 h 298698"/>
                <a:gd name="connsiteX72" fmla="*/ 1059907 w 1254307"/>
                <a:gd name="connsiteY72" fmla="*/ 262924 h 298698"/>
                <a:gd name="connsiteX73" fmla="*/ 1059907 w 1254307"/>
                <a:gd name="connsiteY73" fmla="*/ 255848 h 298698"/>
                <a:gd name="connsiteX74" fmla="*/ 1058790 w 1254307"/>
                <a:gd name="connsiteY74" fmla="*/ 256593 h 298698"/>
                <a:gd name="connsiteX75" fmla="*/ 1034583 w 1254307"/>
                <a:gd name="connsiteY75" fmla="*/ 264414 h 298698"/>
                <a:gd name="connsiteX76" fmla="*/ 1008514 w 1254307"/>
                <a:gd name="connsiteY76" fmla="*/ 238717 h 298698"/>
                <a:gd name="connsiteX77" fmla="*/ 1055066 w 1254307"/>
                <a:gd name="connsiteY77" fmla="*/ 210041 h 298698"/>
                <a:gd name="connsiteX78" fmla="*/ 1058790 w 1254307"/>
                <a:gd name="connsiteY78" fmla="*/ 210041 h 298698"/>
                <a:gd name="connsiteX79" fmla="*/ 1058790 w 1254307"/>
                <a:gd name="connsiteY79" fmla="*/ 205945 h 298698"/>
                <a:gd name="connsiteX80" fmla="*/ 1055810 w 1254307"/>
                <a:gd name="connsiteY80" fmla="*/ 194772 h 298698"/>
                <a:gd name="connsiteX81" fmla="*/ 1041659 w 1254307"/>
                <a:gd name="connsiteY81" fmla="*/ 190676 h 298698"/>
                <a:gd name="connsiteX82" fmla="*/ 1019314 w 1254307"/>
                <a:gd name="connsiteY82" fmla="*/ 197007 h 298698"/>
                <a:gd name="connsiteX83" fmla="*/ 1013355 w 1254307"/>
                <a:gd name="connsiteY83" fmla="*/ 186207 h 298698"/>
                <a:gd name="connsiteX84" fmla="*/ 1043148 w 1254307"/>
                <a:gd name="connsiteY84" fmla="*/ 177641 h 298698"/>
                <a:gd name="connsiteX85" fmla="*/ 851356 w 1254307"/>
                <a:gd name="connsiteY85" fmla="*/ 177641 h 298698"/>
                <a:gd name="connsiteX86" fmla="*/ 891204 w 1254307"/>
                <a:gd name="connsiteY86" fmla="*/ 220469 h 298698"/>
                <a:gd name="connsiteX87" fmla="*/ 849866 w 1254307"/>
                <a:gd name="connsiteY87" fmla="*/ 264413 h 298698"/>
                <a:gd name="connsiteX88" fmla="*/ 810018 w 1254307"/>
                <a:gd name="connsiteY88" fmla="*/ 221586 h 298698"/>
                <a:gd name="connsiteX89" fmla="*/ 851356 w 1254307"/>
                <a:gd name="connsiteY89" fmla="*/ 177641 h 298698"/>
                <a:gd name="connsiteX90" fmla="*/ 761604 w 1254307"/>
                <a:gd name="connsiteY90" fmla="*/ 177641 h 298698"/>
                <a:gd name="connsiteX91" fmla="*/ 793631 w 1254307"/>
                <a:gd name="connsiteY91" fmla="*/ 185834 h 298698"/>
                <a:gd name="connsiteX92" fmla="*/ 793631 w 1254307"/>
                <a:gd name="connsiteY92" fmla="*/ 259200 h 298698"/>
                <a:gd name="connsiteX93" fmla="*/ 785438 w 1254307"/>
                <a:gd name="connsiteY93" fmla="*/ 288248 h 298698"/>
                <a:gd name="connsiteX94" fmla="*/ 756390 w 1254307"/>
                <a:gd name="connsiteY94" fmla="*/ 298675 h 298698"/>
                <a:gd name="connsiteX95" fmla="*/ 721756 w 1254307"/>
                <a:gd name="connsiteY95" fmla="*/ 287503 h 298698"/>
                <a:gd name="connsiteX96" fmla="*/ 728832 w 1254307"/>
                <a:gd name="connsiteY96" fmla="*/ 276331 h 298698"/>
                <a:gd name="connsiteX97" fmla="*/ 754528 w 1254307"/>
                <a:gd name="connsiteY97" fmla="*/ 284524 h 298698"/>
                <a:gd name="connsiteX98" fmla="*/ 770914 w 1254307"/>
                <a:gd name="connsiteY98" fmla="*/ 279682 h 298698"/>
                <a:gd name="connsiteX99" fmla="*/ 776873 w 1254307"/>
                <a:gd name="connsiteY99" fmla="*/ 259944 h 298698"/>
                <a:gd name="connsiteX100" fmla="*/ 776873 w 1254307"/>
                <a:gd name="connsiteY100" fmla="*/ 256220 h 298698"/>
                <a:gd name="connsiteX101" fmla="*/ 775756 w 1254307"/>
                <a:gd name="connsiteY101" fmla="*/ 256965 h 298698"/>
                <a:gd name="connsiteX102" fmla="*/ 775011 w 1254307"/>
                <a:gd name="connsiteY102" fmla="*/ 257338 h 298698"/>
                <a:gd name="connsiteX103" fmla="*/ 754901 w 1254307"/>
                <a:gd name="connsiteY103" fmla="*/ 262551 h 298698"/>
                <a:gd name="connsiteX104" fmla="*/ 718404 w 1254307"/>
                <a:gd name="connsiteY104" fmla="*/ 221958 h 298698"/>
                <a:gd name="connsiteX105" fmla="*/ 761604 w 1254307"/>
                <a:gd name="connsiteY105" fmla="*/ 177641 h 298698"/>
                <a:gd name="connsiteX106" fmla="*/ 706487 w 1254307"/>
                <a:gd name="connsiteY106" fmla="*/ 177641 h 298698"/>
                <a:gd name="connsiteX107" fmla="*/ 714680 w 1254307"/>
                <a:gd name="connsiteY107" fmla="*/ 179131 h 298698"/>
                <a:gd name="connsiteX108" fmla="*/ 710583 w 1254307"/>
                <a:gd name="connsiteY108" fmla="*/ 192538 h 298698"/>
                <a:gd name="connsiteX109" fmla="*/ 705370 w 1254307"/>
                <a:gd name="connsiteY109" fmla="*/ 192165 h 298698"/>
                <a:gd name="connsiteX110" fmla="*/ 680418 w 1254307"/>
                <a:gd name="connsiteY110" fmla="*/ 205572 h 298698"/>
                <a:gd name="connsiteX111" fmla="*/ 680418 w 1254307"/>
                <a:gd name="connsiteY111" fmla="*/ 262551 h 298698"/>
                <a:gd name="connsiteX112" fmla="*/ 663287 w 1254307"/>
                <a:gd name="connsiteY112" fmla="*/ 262551 h 298698"/>
                <a:gd name="connsiteX113" fmla="*/ 663287 w 1254307"/>
                <a:gd name="connsiteY113" fmla="*/ 180248 h 298698"/>
                <a:gd name="connsiteX114" fmla="*/ 678184 w 1254307"/>
                <a:gd name="connsiteY114" fmla="*/ 180248 h 298698"/>
                <a:gd name="connsiteX115" fmla="*/ 678184 w 1254307"/>
                <a:gd name="connsiteY115" fmla="*/ 192910 h 298698"/>
                <a:gd name="connsiteX116" fmla="*/ 679673 w 1254307"/>
                <a:gd name="connsiteY116" fmla="*/ 190303 h 298698"/>
                <a:gd name="connsiteX117" fmla="*/ 706487 w 1254307"/>
                <a:gd name="connsiteY117" fmla="*/ 177641 h 298698"/>
                <a:gd name="connsiteX118" fmla="*/ 611521 w 1254307"/>
                <a:gd name="connsiteY118" fmla="*/ 177641 h 298698"/>
                <a:gd name="connsiteX119" fmla="*/ 646900 w 1254307"/>
                <a:gd name="connsiteY119" fmla="*/ 220096 h 298698"/>
                <a:gd name="connsiteX120" fmla="*/ 646528 w 1254307"/>
                <a:gd name="connsiteY120" fmla="*/ 224565 h 298698"/>
                <a:gd name="connsiteX121" fmla="*/ 646528 w 1254307"/>
                <a:gd name="connsiteY121" fmla="*/ 226055 h 298698"/>
                <a:gd name="connsiteX122" fmla="*/ 589549 w 1254307"/>
                <a:gd name="connsiteY122" fmla="*/ 226055 h 298698"/>
                <a:gd name="connsiteX123" fmla="*/ 589549 w 1254307"/>
                <a:gd name="connsiteY123" fmla="*/ 226800 h 298698"/>
                <a:gd name="connsiteX124" fmla="*/ 589549 w 1254307"/>
                <a:gd name="connsiteY124" fmla="*/ 228662 h 298698"/>
                <a:gd name="connsiteX125" fmla="*/ 614128 w 1254307"/>
                <a:gd name="connsiteY125" fmla="*/ 250634 h 298698"/>
                <a:gd name="connsiteX126" fmla="*/ 636845 w 1254307"/>
                <a:gd name="connsiteY126" fmla="*/ 244675 h 298698"/>
                <a:gd name="connsiteX127" fmla="*/ 642804 w 1254307"/>
                <a:gd name="connsiteY127" fmla="*/ 255848 h 298698"/>
                <a:gd name="connsiteX128" fmla="*/ 612638 w 1254307"/>
                <a:gd name="connsiteY128" fmla="*/ 264413 h 298698"/>
                <a:gd name="connsiteX129" fmla="*/ 572790 w 1254307"/>
                <a:gd name="connsiteY129" fmla="*/ 221586 h 298698"/>
                <a:gd name="connsiteX130" fmla="*/ 611521 w 1254307"/>
                <a:gd name="connsiteY130" fmla="*/ 177641 h 298698"/>
                <a:gd name="connsiteX131" fmla="*/ 372060 w 1254307"/>
                <a:gd name="connsiteY131" fmla="*/ 164979 h 298698"/>
                <a:gd name="connsiteX132" fmla="*/ 339287 w 1254307"/>
                <a:gd name="connsiteY132" fmla="*/ 208179 h 298698"/>
                <a:gd name="connsiteX133" fmla="*/ 373177 w 1254307"/>
                <a:gd name="connsiteY133" fmla="*/ 250262 h 298698"/>
                <a:gd name="connsiteX134" fmla="*/ 406322 w 1254307"/>
                <a:gd name="connsiteY134" fmla="*/ 206689 h 298698"/>
                <a:gd name="connsiteX135" fmla="*/ 372060 w 1254307"/>
                <a:gd name="connsiteY135" fmla="*/ 164979 h 298698"/>
                <a:gd name="connsiteX136" fmla="*/ 915038 w 1254307"/>
                <a:gd name="connsiteY136" fmla="*/ 156041 h 298698"/>
                <a:gd name="connsiteX137" fmla="*/ 932541 w 1254307"/>
                <a:gd name="connsiteY137" fmla="*/ 156041 h 298698"/>
                <a:gd name="connsiteX138" fmla="*/ 932541 w 1254307"/>
                <a:gd name="connsiteY138" fmla="*/ 180248 h 298698"/>
                <a:gd name="connsiteX139" fmla="*/ 957121 w 1254307"/>
                <a:gd name="connsiteY139" fmla="*/ 180248 h 298698"/>
                <a:gd name="connsiteX140" fmla="*/ 957121 w 1254307"/>
                <a:gd name="connsiteY140" fmla="*/ 194027 h 298698"/>
                <a:gd name="connsiteX141" fmla="*/ 932541 w 1254307"/>
                <a:gd name="connsiteY141" fmla="*/ 194027 h 298698"/>
                <a:gd name="connsiteX142" fmla="*/ 932541 w 1254307"/>
                <a:gd name="connsiteY142" fmla="*/ 234248 h 298698"/>
                <a:gd name="connsiteX143" fmla="*/ 944459 w 1254307"/>
                <a:gd name="connsiteY143" fmla="*/ 250262 h 298698"/>
                <a:gd name="connsiteX144" fmla="*/ 955259 w 1254307"/>
                <a:gd name="connsiteY144" fmla="*/ 248027 h 298698"/>
                <a:gd name="connsiteX145" fmla="*/ 959728 w 1254307"/>
                <a:gd name="connsiteY145" fmla="*/ 259944 h 298698"/>
                <a:gd name="connsiteX146" fmla="*/ 940735 w 1254307"/>
                <a:gd name="connsiteY146" fmla="*/ 264786 h 298698"/>
                <a:gd name="connsiteX147" fmla="*/ 920997 w 1254307"/>
                <a:gd name="connsiteY147" fmla="*/ 258082 h 298698"/>
                <a:gd name="connsiteX148" fmla="*/ 915038 w 1254307"/>
                <a:gd name="connsiteY148" fmla="*/ 234248 h 298698"/>
                <a:gd name="connsiteX149" fmla="*/ 915038 w 1254307"/>
                <a:gd name="connsiteY149" fmla="*/ 194027 h 298698"/>
                <a:gd name="connsiteX150" fmla="*/ 900514 w 1254307"/>
                <a:gd name="connsiteY150" fmla="*/ 194027 h 298698"/>
                <a:gd name="connsiteX151" fmla="*/ 900514 w 1254307"/>
                <a:gd name="connsiteY151" fmla="*/ 180248 h 298698"/>
                <a:gd name="connsiteX152" fmla="*/ 915038 w 1254307"/>
                <a:gd name="connsiteY152" fmla="*/ 180248 h 298698"/>
                <a:gd name="connsiteX153" fmla="*/ 519163 w 1254307"/>
                <a:gd name="connsiteY153" fmla="*/ 156041 h 298698"/>
                <a:gd name="connsiteX154" fmla="*/ 536667 w 1254307"/>
                <a:gd name="connsiteY154" fmla="*/ 156041 h 298698"/>
                <a:gd name="connsiteX155" fmla="*/ 536667 w 1254307"/>
                <a:gd name="connsiteY155" fmla="*/ 180248 h 298698"/>
                <a:gd name="connsiteX156" fmla="*/ 561246 w 1254307"/>
                <a:gd name="connsiteY156" fmla="*/ 180248 h 298698"/>
                <a:gd name="connsiteX157" fmla="*/ 561246 w 1254307"/>
                <a:gd name="connsiteY157" fmla="*/ 194027 h 298698"/>
                <a:gd name="connsiteX158" fmla="*/ 536667 w 1254307"/>
                <a:gd name="connsiteY158" fmla="*/ 194027 h 298698"/>
                <a:gd name="connsiteX159" fmla="*/ 536667 w 1254307"/>
                <a:gd name="connsiteY159" fmla="*/ 234248 h 298698"/>
                <a:gd name="connsiteX160" fmla="*/ 548956 w 1254307"/>
                <a:gd name="connsiteY160" fmla="*/ 250262 h 298698"/>
                <a:gd name="connsiteX161" fmla="*/ 559756 w 1254307"/>
                <a:gd name="connsiteY161" fmla="*/ 248027 h 298698"/>
                <a:gd name="connsiteX162" fmla="*/ 564225 w 1254307"/>
                <a:gd name="connsiteY162" fmla="*/ 259944 h 298698"/>
                <a:gd name="connsiteX163" fmla="*/ 544860 w 1254307"/>
                <a:gd name="connsiteY163" fmla="*/ 264786 h 298698"/>
                <a:gd name="connsiteX164" fmla="*/ 525122 w 1254307"/>
                <a:gd name="connsiteY164" fmla="*/ 258082 h 298698"/>
                <a:gd name="connsiteX165" fmla="*/ 519163 w 1254307"/>
                <a:gd name="connsiteY165" fmla="*/ 234248 h 298698"/>
                <a:gd name="connsiteX166" fmla="*/ 519163 w 1254307"/>
                <a:gd name="connsiteY166" fmla="*/ 194027 h 298698"/>
                <a:gd name="connsiteX167" fmla="*/ 504639 w 1254307"/>
                <a:gd name="connsiteY167" fmla="*/ 194027 h 298698"/>
                <a:gd name="connsiteX168" fmla="*/ 504639 w 1254307"/>
                <a:gd name="connsiteY168" fmla="*/ 180248 h 298698"/>
                <a:gd name="connsiteX169" fmla="*/ 519163 w 1254307"/>
                <a:gd name="connsiteY169" fmla="*/ 180248 h 298698"/>
                <a:gd name="connsiteX170" fmla="*/ 976114 w 1254307"/>
                <a:gd name="connsiteY170" fmla="*/ 150828 h 298698"/>
                <a:gd name="connsiteX171" fmla="*/ 993617 w 1254307"/>
                <a:gd name="connsiteY171" fmla="*/ 150828 h 298698"/>
                <a:gd name="connsiteX172" fmla="*/ 993617 w 1254307"/>
                <a:gd name="connsiteY172" fmla="*/ 262552 h 298698"/>
                <a:gd name="connsiteX173" fmla="*/ 976114 w 1254307"/>
                <a:gd name="connsiteY173" fmla="*/ 262552 h 298698"/>
                <a:gd name="connsiteX174" fmla="*/ 866252 w 1254307"/>
                <a:gd name="connsiteY174" fmla="*/ 150828 h 298698"/>
                <a:gd name="connsiteX175" fmla="*/ 875935 w 1254307"/>
                <a:gd name="connsiteY175" fmla="*/ 160883 h 298698"/>
                <a:gd name="connsiteX176" fmla="*/ 866252 w 1254307"/>
                <a:gd name="connsiteY176" fmla="*/ 170566 h 298698"/>
                <a:gd name="connsiteX177" fmla="*/ 856569 w 1254307"/>
                <a:gd name="connsiteY177" fmla="*/ 160511 h 298698"/>
                <a:gd name="connsiteX178" fmla="*/ 866252 w 1254307"/>
                <a:gd name="connsiteY178" fmla="*/ 150828 h 298698"/>
                <a:gd name="connsiteX179" fmla="*/ 834597 w 1254307"/>
                <a:gd name="connsiteY179" fmla="*/ 150828 h 298698"/>
                <a:gd name="connsiteX180" fmla="*/ 844652 w 1254307"/>
                <a:gd name="connsiteY180" fmla="*/ 160511 h 298698"/>
                <a:gd name="connsiteX181" fmla="*/ 834969 w 1254307"/>
                <a:gd name="connsiteY181" fmla="*/ 170566 h 298698"/>
                <a:gd name="connsiteX182" fmla="*/ 824914 w 1254307"/>
                <a:gd name="connsiteY182" fmla="*/ 160883 h 298698"/>
                <a:gd name="connsiteX183" fmla="*/ 834597 w 1254307"/>
                <a:gd name="connsiteY183" fmla="*/ 150828 h 298698"/>
                <a:gd name="connsiteX184" fmla="*/ 1254307 w 1254307"/>
                <a:gd name="connsiteY184" fmla="*/ 150455 h 298698"/>
                <a:gd name="connsiteX185" fmla="*/ 1254307 w 1254307"/>
                <a:gd name="connsiteY185" fmla="*/ 262179 h 298698"/>
                <a:gd name="connsiteX186" fmla="*/ 1239410 w 1254307"/>
                <a:gd name="connsiteY186" fmla="*/ 262179 h 298698"/>
                <a:gd name="connsiteX187" fmla="*/ 1239410 w 1254307"/>
                <a:gd name="connsiteY187" fmla="*/ 255476 h 298698"/>
                <a:gd name="connsiteX188" fmla="*/ 1237921 w 1254307"/>
                <a:gd name="connsiteY188" fmla="*/ 256593 h 298698"/>
                <a:gd name="connsiteX189" fmla="*/ 1215576 w 1254307"/>
                <a:gd name="connsiteY189" fmla="*/ 264414 h 298698"/>
                <a:gd name="connsiteX190" fmla="*/ 1178707 w 1254307"/>
                <a:gd name="connsiteY190" fmla="*/ 222331 h 298698"/>
                <a:gd name="connsiteX191" fmla="*/ 1218555 w 1254307"/>
                <a:gd name="connsiteY191" fmla="*/ 177641 h 298698"/>
                <a:gd name="connsiteX192" fmla="*/ 1235686 w 1254307"/>
                <a:gd name="connsiteY192" fmla="*/ 181738 h 298698"/>
                <a:gd name="connsiteX193" fmla="*/ 1236804 w 1254307"/>
                <a:gd name="connsiteY193" fmla="*/ 182483 h 298698"/>
                <a:gd name="connsiteX194" fmla="*/ 1236804 w 1254307"/>
                <a:gd name="connsiteY194" fmla="*/ 181365 h 298698"/>
                <a:gd name="connsiteX195" fmla="*/ 1236804 w 1254307"/>
                <a:gd name="connsiteY195" fmla="*/ 150827 h 298698"/>
                <a:gd name="connsiteX196" fmla="*/ 373177 w 1254307"/>
                <a:gd name="connsiteY196" fmla="*/ 150455 h 298698"/>
                <a:gd name="connsiteX197" fmla="*/ 424942 w 1254307"/>
                <a:gd name="connsiteY197" fmla="*/ 206689 h 298698"/>
                <a:gd name="connsiteX198" fmla="*/ 372804 w 1254307"/>
                <a:gd name="connsiteY198" fmla="*/ 264786 h 298698"/>
                <a:gd name="connsiteX199" fmla="*/ 321039 w 1254307"/>
                <a:gd name="connsiteY199" fmla="*/ 207434 h 298698"/>
                <a:gd name="connsiteX200" fmla="*/ 373177 w 1254307"/>
                <a:gd name="connsiteY200" fmla="*/ 150455 h 298698"/>
                <a:gd name="connsiteX201" fmla="*/ 388446 w 1254307"/>
                <a:gd name="connsiteY201" fmla="*/ 123269 h 298698"/>
                <a:gd name="connsiteX202" fmla="*/ 397756 w 1254307"/>
                <a:gd name="connsiteY202" fmla="*/ 133697 h 298698"/>
                <a:gd name="connsiteX203" fmla="*/ 388446 w 1254307"/>
                <a:gd name="connsiteY203" fmla="*/ 143007 h 298698"/>
                <a:gd name="connsiteX204" fmla="*/ 379135 w 1254307"/>
                <a:gd name="connsiteY204" fmla="*/ 132579 h 298698"/>
                <a:gd name="connsiteX205" fmla="*/ 388446 w 1254307"/>
                <a:gd name="connsiteY205" fmla="*/ 123269 h 298698"/>
                <a:gd name="connsiteX206" fmla="*/ 357163 w 1254307"/>
                <a:gd name="connsiteY206" fmla="*/ 123269 h 298698"/>
                <a:gd name="connsiteX207" fmla="*/ 367218 w 1254307"/>
                <a:gd name="connsiteY207" fmla="*/ 132952 h 298698"/>
                <a:gd name="connsiteX208" fmla="*/ 367218 w 1254307"/>
                <a:gd name="connsiteY208" fmla="*/ 133324 h 298698"/>
                <a:gd name="connsiteX209" fmla="*/ 357535 w 1254307"/>
                <a:gd name="connsiteY209" fmla="*/ 143007 h 298698"/>
                <a:gd name="connsiteX210" fmla="*/ 347480 w 1254307"/>
                <a:gd name="connsiteY210" fmla="*/ 133324 h 298698"/>
                <a:gd name="connsiteX211" fmla="*/ 357163 w 1254307"/>
                <a:gd name="connsiteY211" fmla="*/ 123269 h 298698"/>
                <a:gd name="connsiteX212" fmla="*/ 465535 w 1254307"/>
                <a:gd name="connsiteY212" fmla="*/ 61820 h 298698"/>
                <a:gd name="connsiteX213" fmla="*/ 450266 w 1254307"/>
                <a:gd name="connsiteY213" fmla="*/ 79324 h 298698"/>
                <a:gd name="connsiteX214" fmla="*/ 464045 w 1254307"/>
                <a:gd name="connsiteY214" fmla="*/ 95710 h 298698"/>
                <a:gd name="connsiteX215" fmla="*/ 474845 w 1254307"/>
                <a:gd name="connsiteY215" fmla="*/ 91986 h 298698"/>
                <a:gd name="connsiteX216" fmla="*/ 474845 w 1254307"/>
                <a:gd name="connsiteY216" fmla="*/ 63683 h 298698"/>
                <a:gd name="connsiteX217" fmla="*/ 474473 w 1254307"/>
                <a:gd name="connsiteY217" fmla="*/ 63683 h 298698"/>
                <a:gd name="connsiteX218" fmla="*/ 465535 w 1254307"/>
                <a:gd name="connsiteY218" fmla="*/ 61820 h 298698"/>
                <a:gd name="connsiteX219" fmla="*/ 546721 w 1254307"/>
                <a:gd name="connsiteY219" fmla="*/ 61448 h 298698"/>
                <a:gd name="connsiteX220" fmla="*/ 532942 w 1254307"/>
                <a:gd name="connsiteY220" fmla="*/ 78952 h 298698"/>
                <a:gd name="connsiteX221" fmla="*/ 547094 w 1254307"/>
                <a:gd name="connsiteY221" fmla="*/ 96828 h 298698"/>
                <a:gd name="connsiteX222" fmla="*/ 560873 w 1254307"/>
                <a:gd name="connsiteY222" fmla="*/ 79324 h 298698"/>
                <a:gd name="connsiteX223" fmla="*/ 546721 w 1254307"/>
                <a:gd name="connsiteY223" fmla="*/ 61448 h 298698"/>
                <a:gd name="connsiteX224" fmla="*/ 409301 w 1254307"/>
                <a:gd name="connsiteY224" fmla="*/ 61076 h 298698"/>
                <a:gd name="connsiteX225" fmla="*/ 395894 w 1254307"/>
                <a:gd name="connsiteY225" fmla="*/ 74483 h 298698"/>
                <a:gd name="connsiteX226" fmla="*/ 395894 w 1254307"/>
                <a:gd name="connsiteY226" fmla="*/ 75228 h 298698"/>
                <a:gd name="connsiteX227" fmla="*/ 420474 w 1254307"/>
                <a:gd name="connsiteY227" fmla="*/ 75228 h 298698"/>
                <a:gd name="connsiteX228" fmla="*/ 420474 w 1254307"/>
                <a:gd name="connsiteY228" fmla="*/ 74483 h 298698"/>
                <a:gd name="connsiteX229" fmla="*/ 409301 w 1254307"/>
                <a:gd name="connsiteY229" fmla="*/ 61076 h 298698"/>
                <a:gd name="connsiteX230" fmla="*/ 500170 w 1254307"/>
                <a:gd name="connsiteY230" fmla="*/ 57724 h 298698"/>
                <a:gd name="connsiteX231" fmla="*/ 509853 w 1254307"/>
                <a:gd name="connsiteY231" fmla="*/ 57724 h 298698"/>
                <a:gd name="connsiteX232" fmla="*/ 509853 w 1254307"/>
                <a:gd name="connsiteY232" fmla="*/ 103531 h 298698"/>
                <a:gd name="connsiteX233" fmla="*/ 500170 w 1254307"/>
                <a:gd name="connsiteY233" fmla="*/ 103531 h 298698"/>
                <a:gd name="connsiteX234" fmla="*/ 606680 w 1254307"/>
                <a:gd name="connsiteY234" fmla="*/ 54000 h 298698"/>
                <a:gd name="connsiteX235" fmla="*/ 618597 w 1254307"/>
                <a:gd name="connsiteY235" fmla="*/ 58469 h 298698"/>
                <a:gd name="connsiteX236" fmla="*/ 623439 w 1254307"/>
                <a:gd name="connsiteY236" fmla="*/ 76345 h 298698"/>
                <a:gd name="connsiteX237" fmla="*/ 623439 w 1254307"/>
                <a:gd name="connsiteY237" fmla="*/ 103904 h 298698"/>
                <a:gd name="connsiteX238" fmla="*/ 614128 w 1254307"/>
                <a:gd name="connsiteY238" fmla="*/ 103904 h 298698"/>
                <a:gd name="connsiteX239" fmla="*/ 614128 w 1254307"/>
                <a:gd name="connsiteY239" fmla="*/ 103531 h 298698"/>
                <a:gd name="connsiteX240" fmla="*/ 614128 w 1254307"/>
                <a:gd name="connsiteY240" fmla="*/ 77090 h 298698"/>
                <a:gd name="connsiteX241" fmla="*/ 611521 w 1254307"/>
                <a:gd name="connsiteY241" fmla="*/ 64428 h 298698"/>
                <a:gd name="connsiteX242" fmla="*/ 604818 w 1254307"/>
                <a:gd name="connsiteY242" fmla="*/ 62193 h 298698"/>
                <a:gd name="connsiteX243" fmla="*/ 593273 w 1254307"/>
                <a:gd name="connsiteY243" fmla="*/ 65917 h 298698"/>
                <a:gd name="connsiteX244" fmla="*/ 592901 w 1254307"/>
                <a:gd name="connsiteY244" fmla="*/ 65917 h 298698"/>
                <a:gd name="connsiteX245" fmla="*/ 592901 w 1254307"/>
                <a:gd name="connsiteY245" fmla="*/ 103531 h 298698"/>
                <a:gd name="connsiteX246" fmla="*/ 583218 w 1254307"/>
                <a:gd name="connsiteY246" fmla="*/ 103531 h 298698"/>
                <a:gd name="connsiteX247" fmla="*/ 583218 w 1254307"/>
                <a:gd name="connsiteY247" fmla="*/ 55490 h 298698"/>
                <a:gd name="connsiteX248" fmla="*/ 591411 w 1254307"/>
                <a:gd name="connsiteY248" fmla="*/ 55490 h 298698"/>
                <a:gd name="connsiteX249" fmla="*/ 591411 w 1254307"/>
                <a:gd name="connsiteY249" fmla="*/ 59586 h 298698"/>
                <a:gd name="connsiteX250" fmla="*/ 592528 w 1254307"/>
                <a:gd name="connsiteY250" fmla="*/ 58842 h 298698"/>
                <a:gd name="connsiteX251" fmla="*/ 606680 w 1254307"/>
                <a:gd name="connsiteY251" fmla="*/ 54000 h 298698"/>
                <a:gd name="connsiteX252" fmla="*/ 547094 w 1254307"/>
                <a:gd name="connsiteY252" fmla="*/ 54000 h 298698"/>
                <a:gd name="connsiteX253" fmla="*/ 570183 w 1254307"/>
                <a:gd name="connsiteY253" fmla="*/ 79324 h 298698"/>
                <a:gd name="connsiteX254" fmla="*/ 545977 w 1254307"/>
                <a:gd name="connsiteY254" fmla="*/ 105021 h 298698"/>
                <a:gd name="connsiteX255" fmla="*/ 522887 w 1254307"/>
                <a:gd name="connsiteY255" fmla="*/ 79697 h 298698"/>
                <a:gd name="connsiteX256" fmla="*/ 547094 w 1254307"/>
                <a:gd name="connsiteY256" fmla="*/ 54000 h 298698"/>
                <a:gd name="connsiteX257" fmla="*/ 409301 w 1254307"/>
                <a:gd name="connsiteY257" fmla="*/ 54000 h 298698"/>
                <a:gd name="connsiteX258" fmla="*/ 429412 w 1254307"/>
                <a:gd name="connsiteY258" fmla="*/ 78579 h 298698"/>
                <a:gd name="connsiteX259" fmla="*/ 429412 w 1254307"/>
                <a:gd name="connsiteY259" fmla="*/ 81186 h 298698"/>
                <a:gd name="connsiteX260" fmla="*/ 429412 w 1254307"/>
                <a:gd name="connsiteY260" fmla="*/ 81931 h 298698"/>
                <a:gd name="connsiteX261" fmla="*/ 395894 w 1254307"/>
                <a:gd name="connsiteY261" fmla="*/ 81931 h 298698"/>
                <a:gd name="connsiteX262" fmla="*/ 395894 w 1254307"/>
                <a:gd name="connsiteY262" fmla="*/ 82676 h 298698"/>
                <a:gd name="connsiteX263" fmla="*/ 395894 w 1254307"/>
                <a:gd name="connsiteY263" fmla="*/ 84166 h 298698"/>
                <a:gd name="connsiteX264" fmla="*/ 410791 w 1254307"/>
                <a:gd name="connsiteY264" fmla="*/ 97200 h 298698"/>
                <a:gd name="connsiteX265" fmla="*/ 424198 w 1254307"/>
                <a:gd name="connsiteY265" fmla="*/ 93476 h 298698"/>
                <a:gd name="connsiteX266" fmla="*/ 427549 w 1254307"/>
                <a:gd name="connsiteY266" fmla="*/ 99807 h 298698"/>
                <a:gd name="connsiteX267" fmla="*/ 410046 w 1254307"/>
                <a:gd name="connsiteY267" fmla="*/ 104648 h 298698"/>
                <a:gd name="connsiteX268" fmla="*/ 386584 w 1254307"/>
                <a:gd name="connsiteY268" fmla="*/ 79697 h 298698"/>
                <a:gd name="connsiteX269" fmla="*/ 409301 w 1254307"/>
                <a:gd name="connsiteY269" fmla="*/ 54000 h 298698"/>
                <a:gd name="connsiteX270" fmla="*/ 465907 w 1254307"/>
                <a:gd name="connsiteY270" fmla="*/ 53627 h 298698"/>
                <a:gd name="connsiteX271" fmla="*/ 484528 w 1254307"/>
                <a:gd name="connsiteY271" fmla="*/ 58469 h 298698"/>
                <a:gd name="connsiteX272" fmla="*/ 484528 w 1254307"/>
                <a:gd name="connsiteY272" fmla="*/ 103531 h 298698"/>
                <a:gd name="connsiteX273" fmla="*/ 479686 w 1254307"/>
                <a:gd name="connsiteY273" fmla="*/ 120662 h 298698"/>
                <a:gd name="connsiteX274" fmla="*/ 462555 w 1254307"/>
                <a:gd name="connsiteY274" fmla="*/ 126620 h 298698"/>
                <a:gd name="connsiteX275" fmla="*/ 442445 w 1254307"/>
                <a:gd name="connsiteY275" fmla="*/ 120289 h 298698"/>
                <a:gd name="connsiteX276" fmla="*/ 446542 w 1254307"/>
                <a:gd name="connsiteY276" fmla="*/ 113958 h 298698"/>
                <a:gd name="connsiteX277" fmla="*/ 461438 w 1254307"/>
                <a:gd name="connsiteY277" fmla="*/ 119172 h 298698"/>
                <a:gd name="connsiteX278" fmla="*/ 471121 w 1254307"/>
                <a:gd name="connsiteY278" fmla="*/ 115448 h 298698"/>
                <a:gd name="connsiteX279" fmla="*/ 474845 w 1254307"/>
                <a:gd name="connsiteY279" fmla="*/ 103531 h 298698"/>
                <a:gd name="connsiteX280" fmla="*/ 474845 w 1254307"/>
                <a:gd name="connsiteY280" fmla="*/ 99807 h 298698"/>
                <a:gd name="connsiteX281" fmla="*/ 473728 w 1254307"/>
                <a:gd name="connsiteY281" fmla="*/ 100179 h 298698"/>
                <a:gd name="connsiteX282" fmla="*/ 473355 w 1254307"/>
                <a:gd name="connsiteY282" fmla="*/ 100551 h 298698"/>
                <a:gd name="connsiteX283" fmla="*/ 461811 w 1254307"/>
                <a:gd name="connsiteY283" fmla="*/ 103531 h 298698"/>
                <a:gd name="connsiteX284" fmla="*/ 440583 w 1254307"/>
                <a:gd name="connsiteY284" fmla="*/ 79696 h 298698"/>
                <a:gd name="connsiteX285" fmla="*/ 440583 w 1254307"/>
                <a:gd name="connsiteY285" fmla="*/ 77834 h 298698"/>
                <a:gd name="connsiteX286" fmla="*/ 465907 w 1254307"/>
                <a:gd name="connsiteY286" fmla="*/ 53627 h 298698"/>
                <a:gd name="connsiteX287" fmla="*/ 342267 w 1254307"/>
                <a:gd name="connsiteY287" fmla="*/ 45807 h 298698"/>
                <a:gd name="connsiteX288" fmla="*/ 342267 w 1254307"/>
                <a:gd name="connsiteY288" fmla="*/ 68152 h 298698"/>
                <a:gd name="connsiteX289" fmla="*/ 347480 w 1254307"/>
                <a:gd name="connsiteY289" fmla="*/ 68152 h 298698"/>
                <a:gd name="connsiteX290" fmla="*/ 360887 w 1254307"/>
                <a:gd name="connsiteY290" fmla="*/ 64800 h 298698"/>
                <a:gd name="connsiteX291" fmla="*/ 361260 w 1254307"/>
                <a:gd name="connsiteY291" fmla="*/ 48786 h 298698"/>
                <a:gd name="connsiteX292" fmla="*/ 350832 w 1254307"/>
                <a:gd name="connsiteY292" fmla="*/ 45807 h 298698"/>
                <a:gd name="connsiteX293" fmla="*/ 505011 w 1254307"/>
                <a:gd name="connsiteY293" fmla="*/ 37986 h 298698"/>
                <a:gd name="connsiteX294" fmla="*/ 510969 w 1254307"/>
                <a:gd name="connsiteY294" fmla="*/ 43945 h 298698"/>
                <a:gd name="connsiteX295" fmla="*/ 505011 w 1254307"/>
                <a:gd name="connsiteY295" fmla="*/ 49531 h 298698"/>
                <a:gd name="connsiteX296" fmla="*/ 499052 w 1254307"/>
                <a:gd name="connsiteY296" fmla="*/ 43945 h 298698"/>
                <a:gd name="connsiteX297" fmla="*/ 505011 w 1254307"/>
                <a:gd name="connsiteY297" fmla="*/ 37986 h 298698"/>
                <a:gd name="connsiteX298" fmla="*/ 331839 w 1254307"/>
                <a:gd name="connsiteY298" fmla="*/ 37614 h 298698"/>
                <a:gd name="connsiteX299" fmla="*/ 348970 w 1254307"/>
                <a:gd name="connsiteY299" fmla="*/ 37614 h 298698"/>
                <a:gd name="connsiteX300" fmla="*/ 368708 w 1254307"/>
                <a:gd name="connsiteY300" fmla="*/ 42828 h 298698"/>
                <a:gd name="connsiteX301" fmla="*/ 373922 w 1254307"/>
                <a:gd name="connsiteY301" fmla="*/ 55862 h 298698"/>
                <a:gd name="connsiteX302" fmla="*/ 369825 w 1254307"/>
                <a:gd name="connsiteY302" fmla="*/ 67407 h 298698"/>
                <a:gd name="connsiteX303" fmla="*/ 359025 w 1254307"/>
                <a:gd name="connsiteY303" fmla="*/ 72621 h 298698"/>
                <a:gd name="connsiteX304" fmla="*/ 365729 w 1254307"/>
                <a:gd name="connsiteY304" fmla="*/ 76345 h 298698"/>
                <a:gd name="connsiteX305" fmla="*/ 370198 w 1254307"/>
                <a:gd name="connsiteY305" fmla="*/ 84538 h 298698"/>
                <a:gd name="connsiteX306" fmla="*/ 378391 w 1254307"/>
                <a:gd name="connsiteY306" fmla="*/ 103531 h 298698"/>
                <a:gd name="connsiteX307" fmla="*/ 367591 w 1254307"/>
                <a:gd name="connsiteY307" fmla="*/ 103531 h 298698"/>
                <a:gd name="connsiteX308" fmla="*/ 359770 w 1254307"/>
                <a:gd name="connsiteY308" fmla="*/ 86028 h 298698"/>
                <a:gd name="connsiteX309" fmla="*/ 345246 w 1254307"/>
                <a:gd name="connsiteY309" fmla="*/ 75973 h 298698"/>
                <a:gd name="connsiteX310" fmla="*/ 341894 w 1254307"/>
                <a:gd name="connsiteY310" fmla="*/ 75973 h 298698"/>
                <a:gd name="connsiteX311" fmla="*/ 341894 w 1254307"/>
                <a:gd name="connsiteY311" fmla="*/ 103531 h 298698"/>
                <a:gd name="connsiteX312" fmla="*/ 331839 w 1254307"/>
                <a:gd name="connsiteY312" fmla="*/ 103531 h 298698"/>
                <a:gd name="connsiteX313" fmla="*/ 131481 w 1254307"/>
                <a:gd name="connsiteY313" fmla="*/ 12290 h 298698"/>
                <a:gd name="connsiteX314" fmla="*/ 113605 w 1254307"/>
                <a:gd name="connsiteY314" fmla="*/ 36869 h 298698"/>
                <a:gd name="connsiteX315" fmla="*/ 96846 w 1254307"/>
                <a:gd name="connsiteY315" fmla="*/ 17876 h 298698"/>
                <a:gd name="connsiteX316" fmla="*/ 92377 w 1254307"/>
                <a:gd name="connsiteY316" fmla="*/ 52883 h 298698"/>
                <a:gd name="connsiteX317" fmla="*/ 60722 w 1254307"/>
                <a:gd name="connsiteY317" fmla="*/ 38731 h 298698"/>
                <a:gd name="connsiteX318" fmla="*/ 67798 w 1254307"/>
                <a:gd name="connsiteY318" fmla="*/ 62938 h 298698"/>
                <a:gd name="connsiteX319" fmla="*/ 38005 w 1254307"/>
                <a:gd name="connsiteY319" fmla="*/ 65917 h 298698"/>
                <a:gd name="connsiteX320" fmla="*/ 64446 w 1254307"/>
                <a:gd name="connsiteY320" fmla="*/ 80069 h 298698"/>
                <a:gd name="connsiteX321" fmla="*/ 90888 w 1254307"/>
                <a:gd name="connsiteY321" fmla="*/ 91614 h 298698"/>
                <a:gd name="connsiteX322" fmla="*/ 134460 w 1254307"/>
                <a:gd name="connsiteY322" fmla="*/ 141145 h 298698"/>
                <a:gd name="connsiteX323" fmla="*/ 69288 w 1254307"/>
                <a:gd name="connsiteY323" fmla="*/ 128483 h 298698"/>
                <a:gd name="connsiteX324" fmla="*/ 45826 w 1254307"/>
                <a:gd name="connsiteY324" fmla="*/ 111352 h 298698"/>
                <a:gd name="connsiteX325" fmla="*/ 20874 w 1254307"/>
                <a:gd name="connsiteY325" fmla="*/ 96083 h 298698"/>
                <a:gd name="connsiteX326" fmla="*/ 32791 w 1254307"/>
                <a:gd name="connsiteY326" fmla="*/ 123641 h 298698"/>
                <a:gd name="connsiteX327" fmla="*/ 8957 w 1254307"/>
                <a:gd name="connsiteY327" fmla="*/ 128483 h 298698"/>
                <a:gd name="connsiteX328" fmla="*/ 37260 w 1254307"/>
                <a:gd name="connsiteY328" fmla="*/ 149710 h 298698"/>
                <a:gd name="connsiteX329" fmla="*/ 8957 w 1254307"/>
                <a:gd name="connsiteY329" fmla="*/ 170938 h 298698"/>
                <a:gd name="connsiteX330" fmla="*/ 32791 w 1254307"/>
                <a:gd name="connsiteY330" fmla="*/ 175779 h 298698"/>
                <a:gd name="connsiteX331" fmla="*/ 20874 w 1254307"/>
                <a:gd name="connsiteY331" fmla="*/ 203338 h 298698"/>
                <a:gd name="connsiteX332" fmla="*/ 45453 w 1254307"/>
                <a:gd name="connsiteY332" fmla="*/ 188069 h 298698"/>
                <a:gd name="connsiteX333" fmla="*/ 68915 w 1254307"/>
                <a:gd name="connsiteY333" fmla="*/ 170566 h 298698"/>
                <a:gd name="connsiteX334" fmla="*/ 134088 w 1254307"/>
                <a:gd name="connsiteY334" fmla="*/ 157903 h 298698"/>
                <a:gd name="connsiteX335" fmla="*/ 90515 w 1254307"/>
                <a:gd name="connsiteY335" fmla="*/ 207434 h 298698"/>
                <a:gd name="connsiteX336" fmla="*/ 64074 w 1254307"/>
                <a:gd name="connsiteY336" fmla="*/ 218979 h 298698"/>
                <a:gd name="connsiteX337" fmla="*/ 37633 w 1254307"/>
                <a:gd name="connsiteY337" fmla="*/ 233131 h 298698"/>
                <a:gd name="connsiteX338" fmla="*/ 67426 w 1254307"/>
                <a:gd name="connsiteY338" fmla="*/ 236110 h 298698"/>
                <a:gd name="connsiteX339" fmla="*/ 58860 w 1254307"/>
                <a:gd name="connsiteY339" fmla="*/ 259572 h 298698"/>
                <a:gd name="connsiteX340" fmla="*/ 91260 w 1254307"/>
                <a:gd name="connsiteY340" fmla="*/ 246166 h 298698"/>
                <a:gd name="connsiteX341" fmla="*/ 96102 w 1254307"/>
                <a:gd name="connsiteY341" fmla="*/ 280800 h 298698"/>
                <a:gd name="connsiteX342" fmla="*/ 112488 w 1254307"/>
                <a:gd name="connsiteY342" fmla="*/ 261807 h 298698"/>
                <a:gd name="connsiteX343" fmla="*/ 130364 w 1254307"/>
                <a:gd name="connsiteY343" fmla="*/ 286386 h 298698"/>
                <a:gd name="connsiteX344" fmla="*/ 129619 w 1254307"/>
                <a:gd name="connsiteY344" fmla="*/ 256593 h 298698"/>
                <a:gd name="connsiteX345" fmla="*/ 126639 w 1254307"/>
                <a:gd name="connsiteY345" fmla="*/ 228290 h 298698"/>
                <a:gd name="connsiteX346" fmla="*/ 147867 w 1254307"/>
                <a:gd name="connsiteY346" fmla="*/ 165724 h 298698"/>
                <a:gd name="connsiteX347" fmla="*/ 169095 w 1254307"/>
                <a:gd name="connsiteY347" fmla="*/ 228290 h 298698"/>
                <a:gd name="connsiteX348" fmla="*/ 166115 w 1254307"/>
                <a:gd name="connsiteY348" fmla="*/ 256593 h 298698"/>
                <a:gd name="connsiteX349" fmla="*/ 165370 w 1254307"/>
                <a:gd name="connsiteY349" fmla="*/ 286386 h 298698"/>
                <a:gd name="connsiteX350" fmla="*/ 183246 w 1254307"/>
                <a:gd name="connsiteY350" fmla="*/ 261807 h 298698"/>
                <a:gd name="connsiteX351" fmla="*/ 199632 w 1254307"/>
                <a:gd name="connsiteY351" fmla="*/ 280800 h 298698"/>
                <a:gd name="connsiteX352" fmla="*/ 204474 w 1254307"/>
                <a:gd name="connsiteY352" fmla="*/ 246166 h 298698"/>
                <a:gd name="connsiteX353" fmla="*/ 236874 w 1254307"/>
                <a:gd name="connsiteY353" fmla="*/ 259572 h 298698"/>
                <a:gd name="connsiteX354" fmla="*/ 229053 w 1254307"/>
                <a:gd name="connsiteY354" fmla="*/ 236110 h 298698"/>
                <a:gd name="connsiteX355" fmla="*/ 258846 w 1254307"/>
                <a:gd name="connsiteY355" fmla="*/ 233131 h 298698"/>
                <a:gd name="connsiteX356" fmla="*/ 232405 w 1254307"/>
                <a:gd name="connsiteY356" fmla="*/ 218979 h 298698"/>
                <a:gd name="connsiteX357" fmla="*/ 205963 w 1254307"/>
                <a:gd name="connsiteY357" fmla="*/ 207434 h 298698"/>
                <a:gd name="connsiteX358" fmla="*/ 162391 w 1254307"/>
                <a:gd name="connsiteY358" fmla="*/ 157903 h 298698"/>
                <a:gd name="connsiteX359" fmla="*/ 227563 w 1254307"/>
                <a:gd name="connsiteY359" fmla="*/ 170566 h 298698"/>
                <a:gd name="connsiteX360" fmla="*/ 251025 w 1254307"/>
                <a:gd name="connsiteY360" fmla="*/ 187697 h 298698"/>
                <a:gd name="connsiteX361" fmla="*/ 275977 w 1254307"/>
                <a:gd name="connsiteY361" fmla="*/ 202966 h 298698"/>
                <a:gd name="connsiteX362" fmla="*/ 264060 w 1254307"/>
                <a:gd name="connsiteY362" fmla="*/ 175407 h 298698"/>
                <a:gd name="connsiteX363" fmla="*/ 289384 w 1254307"/>
                <a:gd name="connsiteY363" fmla="*/ 170938 h 298698"/>
                <a:gd name="connsiteX364" fmla="*/ 261081 w 1254307"/>
                <a:gd name="connsiteY364" fmla="*/ 149710 h 298698"/>
                <a:gd name="connsiteX365" fmla="*/ 289384 w 1254307"/>
                <a:gd name="connsiteY365" fmla="*/ 128483 h 298698"/>
                <a:gd name="connsiteX366" fmla="*/ 265550 w 1254307"/>
                <a:gd name="connsiteY366" fmla="*/ 123641 h 298698"/>
                <a:gd name="connsiteX367" fmla="*/ 277467 w 1254307"/>
                <a:gd name="connsiteY367" fmla="*/ 96083 h 298698"/>
                <a:gd name="connsiteX368" fmla="*/ 252515 w 1254307"/>
                <a:gd name="connsiteY368" fmla="*/ 111352 h 298698"/>
                <a:gd name="connsiteX369" fmla="*/ 229053 w 1254307"/>
                <a:gd name="connsiteY369" fmla="*/ 128483 h 298698"/>
                <a:gd name="connsiteX370" fmla="*/ 163881 w 1254307"/>
                <a:gd name="connsiteY370" fmla="*/ 141145 h 298698"/>
                <a:gd name="connsiteX371" fmla="*/ 207453 w 1254307"/>
                <a:gd name="connsiteY371" fmla="*/ 91614 h 298698"/>
                <a:gd name="connsiteX372" fmla="*/ 233894 w 1254307"/>
                <a:gd name="connsiteY372" fmla="*/ 80069 h 298698"/>
                <a:gd name="connsiteX373" fmla="*/ 260336 w 1254307"/>
                <a:gd name="connsiteY373" fmla="*/ 65917 h 298698"/>
                <a:gd name="connsiteX374" fmla="*/ 230543 w 1254307"/>
                <a:gd name="connsiteY374" fmla="*/ 62938 h 298698"/>
                <a:gd name="connsiteX375" fmla="*/ 237619 w 1254307"/>
                <a:gd name="connsiteY375" fmla="*/ 38731 h 298698"/>
                <a:gd name="connsiteX376" fmla="*/ 205963 w 1254307"/>
                <a:gd name="connsiteY376" fmla="*/ 52883 h 298698"/>
                <a:gd name="connsiteX377" fmla="*/ 201495 w 1254307"/>
                <a:gd name="connsiteY377" fmla="*/ 17876 h 298698"/>
                <a:gd name="connsiteX378" fmla="*/ 184363 w 1254307"/>
                <a:gd name="connsiteY378" fmla="*/ 36869 h 298698"/>
                <a:gd name="connsiteX379" fmla="*/ 166488 w 1254307"/>
                <a:gd name="connsiteY379" fmla="*/ 12290 h 298698"/>
                <a:gd name="connsiteX380" fmla="*/ 167232 w 1254307"/>
                <a:gd name="connsiteY380" fmla="*/ 42083 h 298698"/>
                <a:gd name="connsiteX381" fmla="*/ 170212 w 1254307"/>
                <a:gd name="connsiteY381" fmla="*/ 70386 h 298698"/>
                <a:gd name="connsiteX382" fmla="*/ 148984 w 1254307"/>
                <a:gd name="connsiteY382" fmla="*/ 132952 h 298698"/>
                <a:gd name="connsiteX383" fmla="*/ 127757 w 1254307"/>
                <a:gd name="connsiteY383" fmla="*/ 70386 h 298698"/>
                <a:gd name="connsiteX384" fmla="*/ 130736 w 1254307"/>
                <a:gd name="connsiteY384" fmla="*/ 42083 h 298698"/>
                <a:gd name="connsiteX385" fmla="*/ 131481 w 1254307"/>
                <a:gd name="connsiteY385" fmla="*/ 12290 h 298698"/>
                <a:gd name="connsiteX386" fmla="*/ 134833 w 1254307"/>
                <a:gd name="connsiteY386" fmla="*/ 0 h 298698"/>
                <a:gd name="connsiteX387" fmla="*/ 134833 w 1254307"/>
                <a:gd name="connsiteY387" fmla="*/ 67779 h 298698"/>
                <a:gd name="connsiteX388" fmla="*/ 148239 w 1254307"/>
                <a:gd name="connsiteY388" fmla="*/ 107255 h 298698"/>
                <a:gd name="connsiteX389" fmla="*/ 161646 w 1254307"/>
                <a:gd name="connsiteY389" fmla="*/ 67779 h 298698"/>
                <a:gd name="connsiteX390" fmla="*/ 161646 w 1254307"/>
                <a:gd name="connsiteY390" fmla="*/ 0 h 298698"/>
                <a:gd name="connsiteX391" fmla="*/ 184363 w 1254307"/>
                <a:gd name="connsiteY391" fmla="*/ 19738 h 298698"/>
                <a:gd name="connsiteX392" fmla="*/ 202612 w 1254307"/>
                <a:gd name="connsiteY392" fmla="*/ 9310 h 298698"/>
                <a:gd name="connsiteX393" fmla="*/ 214901 w 1254307"/>
                <a:gd name="connsiteY393" fmla="*/ 34634 h 298698"/>
                <a:gd name="connsiteX394" fmla="*/ 242088 w 1254307"/>
                <a:gd name="connsiteY394" fmla="*/ 32400 h 298698"/>
                <a:gd name="connsiteX395" fmla="*/ 242832 w 1254307"/>
                <a:gd name="connsiteY395" fmla="*/ 53255 h 298698"/>
                <a:gd name="connsiteX396" fmla="*/ 271136 w 1254307"/>
                <a:gd name="connsiteY396" fmla="*/ 62938 h 298698"/>
                <a:gd name="connsiteX397" fmla="*/ 212294 w 1254307"/>
                <a:gd name="connsiteY397" fmla="*/ 96828 h 298698"/>
                <a:gd name="connsiteX398" fmla="*/ 184736 w 1254307"/>
                <a:gd name="connsiteY398" fmla="*/ 128110 h 298698"/>
                <a:gd name="connsiteX399" fmla="*/ 226074 w 1254307"/>
                <a:gd name="connsiteY399" fmla="*/ 119917 h 298698"/>
                <a:gd name="connsiteX400" fmla="*/ 284543 w 1254307"/>
                <a:gd name="connsiteY400" fmla="*/ 85655 h 298698"/>
                <a:gd name="connsiteX401" fmla="*/ 279329 w 1254307"/>
                <a:gd name="connsiteY401" fmla="*/ 115448 h 298698"/>
                <a:gd name="connsiteX402" fmla="*/ 296460 w 1254307"/>
                <a:gd name="connsiteY402" fmla="*/ 125876 h 298698"/>
                <a:gd name="connsiteX403" fmla="*/ 280074 w 1254307"/>
                <a:gd name="connsiteY403" fmla="*/ 149338 h 298698"/>
                <a:gd name="connsiteX404" fmla="*/ 296460 w 1254307"/>
                <a:gd name="connsiteY404" fmla="*/ 173172 h 298698"/>
                <a:gd name="connsiteX405" fmla="*/ 279329 w 1254307"/>
                <a:gd name="connsiteY405" fmla="*/ 183600 h 298698"/>
                <a:gd name="connsiteX406" fmla="*/ 284543 w 1254307"/>
                <a:gd name="connsiteY406" fmla="*/ 213393 h 298698"/>
                <a:gd name="connsiteX407" fmla="*/ 226074 w 1254307"/>
                <a:gd name="connsiteY407" fmla="*/ 179131 h 298698"/>
                <a:gd name="connsiteX408" fmla="*/ 184736 w 1254307"/>
                <a:gd name="connsiteY408" fmla="*/ 170938 h 298698"/>
                <a:gd name="connsiteX409" fmla="*/ 212294 w 1254307"/>
                <a:gd name="connsiteY409" fmla="*/ 202221 h 298698"/>
                <a:gd name="connsiteX410" fmla="*/ 271136 w 1254307"/>
                <a:gd name="connsiteY410" fmla="*/ 236110 h 298698"/>
                <a:gd name="connsiteX411" fmla="*/ 243205 w 1254307"/>
                <a:gd name="connsiteY411" fmla="*/ 245793 h 298698"/>
                <a:gd name="connsiteX412" fmla="*/ 243205 w 1254307"/>
                <a:gd name="connsiteY412" fmla="*/ 265903 h 298698"/>
                <a:gd name="connsiteX413" fmla="*/ 214901 w 1254307"/>
                <a:gd name="connsiteY413" fmla="*/ 264041 h 298698"/>
                <a:gd name="connsiteX414" fmla="*/ 202239 w 1254307"/>
                <a:gd name="connsiteY414" fmla="*/ 289366 h 298698"/>
                <a:gd name="connsiteX415" fmla="*/ 184363 w 1254307"/>
                <a:gd name="connsiteY415" fmla="*/ 278938 h 298698"/>
                <a:gd name="connsiteX416" fmla="*/ 161646 w 1254307"/>
                <a:gd name="connsiteY416" fmla="*/ 298676 h 298698"/>
                <a:gd name="connsiteX417" fmla="*/ 161646 w 1254307"/>
                <a:gd name="connsiteY417" fmla="*/ 230897 h 298698"/>
                <a:gd name="connsiteX418" fmla="*/ 148239 w 1254307"/>
                <a:gd name="connsiteY418" fmla="*/ 191421 h 298698"/>
                <a:gd name="connsiteX419" fmla="*/ 134833 w 1254307"/>
                <a:gd name="connsiteY419" fmla="*/ 230897 h 298698"/>
                <a:gd name="connsiteX420" fmla="*/ 134833 w 1254307"/>
                <a:gd name="connsiteY420" fmla="*/ 298676 h 298698"/>
                <a:gd name="connsiteX421" fmla="*/ 112115 w 1254307"/>
                <a:gd name="connsiteY421" fmla="*/ 278938 h 298698"/>
                <a:gd name="connsiteX422" fmla="*/ 94239 w 1254307"/>
                <a:gd name="connsiteY422" fmla="*/ 289366 h 298698"/>
                <a:gd name="connsiteX423" fmla="*/ 81577 w 1254307"/>
                <a:gd name="connsiteY423" fmla="*/ 264041 h 298698"/>
                <a:gd name="connsiteX424" fmla="*/ 53274 w 1254307"/>
                <a:gd name="connsiteY424" fmla="*/ 265903 h 298698"/>
                <a:gd name="connsiteX425" fmla="*/ 53274 w 1254307"/>
                <a:gd name="connsiteY425" fmla="*/ 245793 h 298698"/>
                <a:gd name="connsiteX426" fmla="*/ 25343 w 1254307"/>
                <a:gd name="connsiteY426" fmla="*/ 236110 h 298698"/>
                <a:gd name="connsiteX427" fmla="*/ 84184 w 1254307"/>
                <a:gd name="connsiteY427" fmla="*/ 202221 h 298698"/>
                <a:gd name="connsiteX428" fmla="*/ 111743 w 1254307"/>
                <a:gd name="connsiteY428" fmla="*/ 170938 h 298698"/>
                <a:gd name="connsiteX429" fmla="*/ 70405 w 1254307"/>
                <a:gd name="connsiteY429" fmla="*/ 179131 h 298698"/>
                <a:gd name="connsiteX430" fmla="*/ 11936 w 1254307"/>
                <a:gd name="connsiteY430" fmla="*/ 213393 h 298698"/>
                <a:gd name="connsiteX431" fmla="*/ 17150 w 1254307"/>
                <a:gd name="connsiteY431" fmla="*/ 183600 h 298698"/>
                <a:gd name="connsiteX432" fmla="*/ 19 w 1254307"/>
                <a:gd name="connsiteY432" fmla="*/ 173172 h 298698"/>
                <a:gd name="connsiteX433" fmla="*/ 16405 w 1254307"/>
                <a:gd name="connsiteY433" fmla="*/ 149710 h 298698"/>
                <a:gd name="connsiteX434" fmla="*/ 19 w 1254307"/>
                <a:gd name="connsiteY434" fmla="*/ 126248 h 298698"/>
                <a:gd name="connsiteX435" fmla="*/ 17150 w 1254307"/>
                <a:gd name="connsiteY435" fmla="*/ 115821 h 298698"/>
                <a:gd name="connsiteX436" fmla="*/ 11936 w 1254307"/>
                <a:gd name="connsiteY436" fmla="*/ 86028 h 298698"/>
                <a:gd name="connsiteX437" fmla="*/ 70405 w 1254307"/>
                <a:gd name="connsiteY437" fmla="*/ 120290 h 298698"/>
                <a:gd name="connsiteX438" fmla="*/ 111743 w 1254307"/>
                <a:gd name="connsiteY438" fmla="*/ 128483 h 298698"/>
                <a:gd name="connsiteX439" fmla="*/ 84184 w 1254307"/>
                <a:gd name="connsiteY439" fmla="*/ 97200 h 298698"/>
                <a:gd name="connsiteX440" fmla="*/ 25343 w 1254307"/>
                <a:gd name="connsiteY440" fmla="*/ 63683 h 298698"/>
                <a:gd name="connsiteX441" fmla="*/ 53646 w 1254307"/>
                <a:gd name="connsiteY441" fmla="*/ 53628 h 298698"/>
                <a:gd name="connsiteX442" fmla="*/ 54391 w 1254307"/>
                <a:gd name="connsiteY442" fmla="*/ 32400 h 298698"/>
                <a:gd name="connsiteX443" fmla="*/ 81577 w 1254307"/>
                <a:gd name="connsiteY443" fmla="*/ 34634 h 298698"/>
                <a:gd name="connsiteX444" fmla="*/ 93867 w 1254307"/>
                <a:gd name="connsiteY444" fmla="*/ 9310 h 298698"/>
                <a:gd name="connsiteX445" fmla="*/ 112115 w 1254307"/>
                <a:gd name="connsiteY445" fmla="*/ 19738 h 298698"/>
                <a:gd name="connsiteX446" fmla="*/ 134833 w 1254307"/>
                <a:gd name="connsiteY446" fmla="*/ 0 h 29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Lst>
              <a:rect l="l" t="t" r="r" b="b"/>
              <a:pathLst>
                <a:path w="1254307" h="298698">
                  <a:moveTo>
                    <a:pt x="1053948" y="221958"/>
                  </a:moveTo>
                  <a:cubicBezTo>
                    <a:pt x="1040541" y="221958"/>
                    <a:pt x="1031604" y="224193"/>
                    <a:pt x="1027135" y="228662"/>
                  </a:cubicBezTo>
                  <a:cubicBezTo>
                    <a:pt x="1024900" y="231269"/>
                    <a:pt x="1023411" y="234620"/>
                    <a:pt x="1023783" y="237972"/>
                  </a:cubicBezTo>
                  <a:cubicBezTo>
                    <a:pt x="1023783" y="246165"/>
                    <a:pt x="1030114" y="251379"/>
                    <a:pt x="1039424" y="251379"/>
                  </a:cubicBezTo>
                  <a:cubicBezTo>
                    <a:pt x="1045755" y="251007"/>
                    <a:pt x="1052086" y="249145"/>
                    <a:pt x="1057672" y="245793"/>
                  </a:cubicBezTo>
                  <a:lnTo>
                    <a:pt x="1058417" y="245420"/>
                  </a:lnTo>
                  <a:lnTo>
                    <a:pt x="1058790" y="245048"/>
                  </a:lnTo>
                  <a:lnTo>
                    <a:pt x="1058790" y="221958"/>
                  </a:lnTo>
                  <a:close/>
                  <a:moveTo>
                    <a:pt x="1221535" y="191793"/>
                  </a:moveTo>
                  <a:cubicBezTo>
                    <a:pt x="1205893" y="191793"/>
                    <a:pt x="1196210" y="203710"/>
                    <a:pt x="1196210" y="221958"/>
                  </a:cubicBezTo>
                  <a:cubicBezTo>
                    <a:pt x="1196210" y="238717"/>
                    <a:pt x="1205521" y="250262"/>
                    <a:pt x="1219300" y="250262"/>
                  </a:cubicBezTo>
                  <a:cubicBezTo>
                    <a:pt x="1225259" y="250262"/>
                    <a:pt x="1231217" y="248400"/>
                    <a:pt x="1236059" y="244676"/>
                  </a:cubicBezTo>
                  <a:lnTo>
                    <a:pt x="1236804" y="244303"/>
                  </a:lnTo>
                  <a:lnTo>
                    <a:pt x="1237176" y="196634"/>
                  </a:lnTo>
                  <a:lnTo>
                    <a:pt x="1236804" y="196262"/>
                  </a:lnTo>
                  <a:cubicBezTo>
                    <a:pt x="1232335" y="193283"/>
                    <a:pt x="1227121" y="191793"/>
                    <a:pt x="1221535" y="191793"/>
                  </a:cubicBezTo>
                  <a:close/>
                  <a:moveTo>
                    <a:pt x="850239" y="191793"/>
                  </a:moveTo>
                  <a:cubicBezTo>
                    <a:pt x="836459" y="191793"/>
                    <a:pt x="827521" y="203338"/>
                    <a:pt x="827521" y="220841"/>
                  </a:cubicBezTo>
                  <a:cubicBezTo>
                    <a:pt x="827521" y="238344"/>
                    <a:pt x="837204" y="250634"/>
                    <a:pt x="850983" y="250634"/>
                  </a:cubicBezTo>
                  <a:cubicBezTo>
                    <a:pt x="864763" y="250634"/>
                    <a:pt x="873328" y="239089"/>
                    <a:pt x="873328" y="221586"/>
                  </a:cubicBezTo>
                  <a:cubicBezTo>
                    <a:pt x="873328" y="204082"/>
                    <a:pt x="864018" y="191793"/>
                    <a:pt x="850239" y="191793"/>
                  </a:cubicBezTo>
                  <a:close/>
                  <a:moveTo>
                    <a:pt x="761232" y="191793"/>
                  </a:moveTo>
                  <a:cubicBezTo>
                    <a:pt x="745963" y="191793"/>
                    <a:pt x="735907" y="203710"/>
                    <a:pt x="735907" y="221213"/>
                  </a:cubicBezTo>
                  <a:cubicBezTo>
                    <a:pt x="735907" y="237600"/>
                    <a:pt x="745218" y="248772"/>
                    <a:pt x="758625" y="248772"/>
                  </a:cubicBezTo>
                  <a:cubicBezTo>
                    <a:pt x="764956" y="248772"/>
                    <a:pt x="770914" y="246538"/>
                    <a:pt x="776500" y="242813"/>
                  </a:cubicBezTo>
                  <a:lnTo>
                    <a:pt x="776500" y="195144"/>
                  </a:lnTo>
                  <a:lnTo>
                    <a:pt x="776128" y="194772"/>
                  </a:lnTo>
                  <a:cubicBezTo>
                    <a:pt x="771287" y="192910"/>
                    <a:pt x="766445" y="191793"/>
                    <a:pt x="761232" y="191793"/>
                  </a:cubicBezTo>
                  <a:close/>
                  <a:moveTo>
                    <a:pt x="611893" y="190675"/>
                  </a:moveTo>
                  <a:cubicBezTo>
                    <a:pt x="599976" y="190675"/>
                    <a:pt x="591038" y="199613"/>
                    <a:pt x="589549" y="213020"/>
                  </a:cubicBezTo>
                  <a:lnTo>
                    <a:pt x="589549" y="213765"/>
                  </a:lnTo>
                  <a:lnTo>
                    <a:pt x="630514" y="213765"/>
                  </a:lnTo>
                  <a:lnTo>
                    <a:pt x="630514" y="213020"/>
                  </a:lnTo>
                  <a:cubicBezTo>
                    <a:pt x="630514" y="202593"/>
                    <a:pt x="625673" y="190675"/>
                    <a:pt x="611893" y="190675"/>
                  </a:cubicBezTo>
                  <a:close/>
                  <a:moveTo>
                    <a:pt x="467770" y="178014"/>
                  </a:moveTo>
                  <a:cubicBezTo>
                    <a:pt x="477080" y="177642"/>
                    <a:pt x="486018" y="180249"/>
                    <a:pt x="493839" y="185090"/>
                  </a:cubicBezTo>
                  <a:lnTo>
                    <a:pt x="487880" y="195890"/>
                  </a:lnTo>
                  <a:cubicBezTo>
                    <a:pt x="481921" y="192538"/>
                    <a:pt x="475590" y="190676"/>
                    <a:pt x="468887" y="190676"/>
                  </a:cubicBezTo>
                  <a:cubicBezTo>
                    <a:pt x="458459" y="190676"/>
                    <a:pt x="454735" y="196262"/>
                    <a:pt x="454735" y="201104"/>
                  </a:cubicBezTo>
                  <a:cubicBezTo>
                    <a:pt x="454735" y="207435"/>
                    <a:pt x="461439" y="210414"/>
                    <a:pt x="469632" y="213766"/>
                  </a:cubicBezTo>
                  <a:lnTo>
                    <a:pt x="470749" y="214138"/>
                  </a:lnTo>
                  <a:cubicBezTo>
                    <a:pt x="481921" y="218980"/>
                    <a:pt x="494956" y="224193"/>
                    <a:pt x="494956" y="239835"/>
                  </a:cubicBezTo>
                  <a:cubicBezTo>
                    <a:pt x="494956" y="255476"/>
                    <a:pt x="483039" y="264787"/>
                    <a:pt x="464046" y="264787"/>
                  </a:cubicBezTo>
                  <a:cubicBezTo>
                    <a:pt x="453618" y="264787"/>
                    <a:pt x="443190" y="261807"/>
                    <a:pt x="434625" y="256593"/>
                  </a:cubicBezTo>
                  <a:lnTo>
                    <a:pt x="440584" y="245421"/>
                  </a:lnTo>
                  <a:cubicBezTo>
                    <a:pt x="447287" y="249145"/>
                    <a:pt x="454735" y="251380"/>
                    <a:pt x="462184" y="251752"/>
                  </a:cubicBezTo>
                  <a:cubicBezTo>
                    <a:pt x="471494" y="251752"/>
                    <a:pt x="477453" y="247283"/>
                    <a:pt x="477453" y="240580"/>
                  </a:cubicBezTo>
                  <a:cubicBezTo>
                    <a:pt x="477453" y="233876"/>
                    <a:pt x="471494" y="231642"/>
                    <a:pt x="461811" y="227545"/>
                  </a:cubicBezTo>
                  <a:lnTo>
                    <a:pt x="459204" y="226428"/>
                  </a:lnTo>
                  <a:cubicBezTo>
                    <a:pt x="449894" y="222704"/>
                    <a:pt x="437604" y="217118"/>
                    <a:pt x="437604" y="202221"/>
                  </a:cubicBezTo>
                  <a:cubicBezTo>
                    <a:pt x="437604" y="187324"/>
                    <a:pt x="449894" y="178014"/>
                    <a:pt x="467770" y="178014"/>
                  </a:cubicBezTo>
                  <a:close/>
                  <a:moveTo>
                    <a:pt x="1134762" y="177641"/>
                  </a:moveTo>
                  <a:cubicBezTo>
                    <a:pt x="1142210" y="177269"/>
                    <a:pt x="1149659" y="179876"/>
                    <a:pt x="1155245" y="185089"/>
                  </a:cubicBezTo>
                  <a:cubicBezTo>
                    <a:pt x="1163438" y="193282"/>
                    <a:pt x="1163438" y="203710"/>
                    <a:pt x="1163438" y="215627"/>
                  </a:cubicBezTo>
                  <a:lnTo>
                    <a:pt x="1163438" y="262551"/>
                  </a:lnTo>
                  <a:lnTo>
                    <a:pt x="1146307" y="262551"/>
                  </a:lnTo>
                  <a:lnTo>
                    <a:pt x="1146307" y="217489"/>
                  </a:lnTo>
                  <a:cubicBezTo>
                    <a:pt x="1146307" y="206317"/>
                    <a:pt x="1146307" y="200358"/>
                    <a:pt x="1142210" y="196262"/>
                  </a:cubicBezTo>
                  <a:cubicBezTo>
                    <a:pt x="1139231" y="193655"/>
                    <a:pt x="1135134" y="192165"/>
                    <a:pt x="1131038" y="192538"/>
                  </a:cubicBezTo>
                  <a:cubicBezTo>
                    <a:pt x="1124334" y="192910"/>
                    <a:pt x="1117631" y="195144"/>
                    <a:pt x="1112045" y="198869"/>
                  </a:cubicBezTo>
                  <a:lnTo>
                    <a:pt x="1111672" y="199241"/>
                  </a:lnTo>
                  <a:lnTo>
                    <a:pt x="1111672" y="262924"/>
                  </a:lnTo>
                  <a:lnTo>
                    <a:pt x="1094169" y="262924"/>
                  </a:lnTo>
                  <a:lnTo>
                    <a:pt x="1094169" y="180248"/>
                  </a:lnTo>
                  <a:lnTo>
                    <a:pt x="1109066" y="180248"/>
                  </a:lnTo>
                  <a:lnTo>
                    <a:pt x="1109066" y="187324"/>
                  </a:lnTo>
                  <a:lnTo>
                    <a:pt x="1110183" y="186207"/>
                  </a:lnTo>
                  <a:cubicBezTo>
                    <a:pt x="1117259" y="180993"/>
                    <a:pt x="1125824" y="178013"/>
                    <a:pt x="1134762" y="177641"/>
                  </a:cubicBezTo>
                  <a:close/>
                  <a:moveTo>
                    <a:pt x="1043148" y="177641"/>
                  </a:moveTo>
                  <a:cubicBezTo>
                    <a:pt x="1055066" y="177641"/>
                    <a:pt x="1062886" y="180248"/>
                    <a:pt x="1068845" y="186207"/>
                  </a:cubicBezTo>
                  <a:cubicBezTo>
                    <a:pt x="1075176" y="192538"/>
                    <a:pt x="1075176" y="200731"/>
                    <a:pt x="1074804" y="211531"/>
                  </a:cubicBezTo>
                  <a:lnTo>
                    <a:pt x="1074804" y="262924"/>
                  </a:lnTo>
                  <a:lnTo>
                    <a:pt x="1059907" y="262924"/>
                  </a:lnTo>
                  <a:lnTo>
                    <a:pt x="1059907" y="255848"/>
                  </a:lnTo>
                  <a:lnTo>
                    <a:pt x="1058790" y="256593"/>
                  </a:lnTo>
                  <a:cubicBezTo>
                    <a:pt x="1051714" y="261434"/>
                    <a:pt x="1043148" y="264414"/>
                    <a:pt x="1034583" y="264414"/>
                  </a:cubicBezTo>
                  <a:cubicBezTo>
                    <a:pt x="1018942" y="264414"/>
                    <a:pt x="1008514" y="253986"/>
                    <a:pt x="1008514" y="238717"/>
                  </a:cubicBezTo>
                  <a:cubicBezTo>
                    <a:pt x="1008514" y="219724"/>
                    <a:pt x="1024155" y="210041"/>
                    <a:pt x="1055066" y="210041"/>
                  </a:cubicBezTo>
                  <a:lnTo>
                    <a:pt x="1058790" y="210041"/>
                  </a:lnTo>
                  <a:lnTo>
                    <a:pt x="1058790" y="205945"/>
                  </a:lnTo>
                  <a:cubicBezTo>
                    <a:pt x="1058790" y="200731"/>
                    <a:pt x="1058790" y="197751"/>
                    <a:pt x="1055810" y="194772"/>
                  </a:cubicBezTo>
                  <a:cubicBezTo>
                    <a:pt x="1052831" y="191793"/>
                    <a:pt x="1048735" y="190676"/>
                    <a:pt x="1041659" y="190676"/>
                  </a:cubicBezTo>
                  <a:cubicBezTo>
                    <a:pt x="1033838" y="191048"/>
                    <a:pt x="1026017" y="193282"/>
                    <a:pt x="1019314" y="197007"/>
                  </a:cubicBezTo>
                  <a:lnTo>
                    <a:pt x="1013355" y="186207"/>
                  </a:lnTo>
                  <a:cubicBezTo>
                    <a:pt x="1021921" y="180248"/>
                    <a:pt x="1032348" y="177269"/>
                    <a:pt x="1043148" y="177641"/>
                  </a:cubicBezTo>
                  <a:close/>
                  <a:moveTo>
                    <a:pt x="851356" y="177641"/>
                  </a:moveTo>
                  <a:cubicBezTo>
                    <a:pt x="875190" y="177641"/>
                    <a:pt x="891204" y="194027"/>
                    <a:pt x="891204" y="220469"/>
                  </a:cubicBezTo>
                  <a:cubicBezTo>
                    <a:pt x="891204" y="246910"/>
                    <a:pt x="874446" y="264413"/>
                    <a:pt x="849866" y="264413"/>
                  </a:cubicBezTo>
                  <a:cubicBezTo>
                    <a:pt x="826032" y="264413"/>
                    <a:pt x="810018" y="248027"/>
                    <a:pt x="810018" y="221586"/>
                  </a:cubicBezTo>
                  <a:cubicBezTo>
                    <a:pt x="810018" y="195144"/>
                    <a:pt x="826777" y="177641"/>
                    <a:pt x="851356" y="177641"/>
                  </a:cubicBezTo>
                  <a:close/>
                  <a:moveTo>
                    <a:pt x="761604" y="177641"/>
                  </a:moveTo>
                  <a:cubicBezTo>
                    <a:pt x="772776" y="178013"/>
                    <a:pt x="783576" y="180620"/>
                    <a:pt x="793631" y="185834"/>
                  </a:cubicBezTo>
                  <a:lnTo>
                    <a:pt x="793631" y="259200"/>
                  </a:lnTo>
                  <a:cubicBezTo>
                    <a:pt x="793631" y="271862"/>
                    <a:pt x="793259" y="280055"/>
                    <a:pt x="785438" y="288248"/>
                  </a:cubicBezTo>
                  <a:cubicBezTo>
                    <a:pt x="778735" y="295324"/>
                    <a:pt x="769052" y="298675"/>
                    <a:pt x="756390" y="298675"/>
                  </a:cubicBezTo>
                  <a:cubicBezTo>
                    <a:pt x="744101" y="299048"/>
                    <a:pt x="731811" y="294951"/>
                    <a:pt x="721756" y="287503"/>
                  </a:cubicBezTo>
                  <a:lnTo>
                    <a:pt x="728832" y="276331"/>
                  </a:lnTo>
                  <a:cubicBezTo>
                    <a:pt x="736652" y="281544"/>
                    <a:pt x="745590" y="284524"/>
                    <a:pt x="754528" y="284524"/>
                  </a:cubicBezTo>
                  <a:cubicBezTo>
                    <a:pt x="760487" y="284896"/>
                    <a:pt x="766073" y="283407"/>
                    <a:pt x="770914" y="279682"/>
                  </a:cubicBezTo>
                  <a:cubicBezTo>
                    <a:pt x="776500" y="274841"/>
                    <a:pt x="776873" y="268138"/>
                    <a:pt x="776873" y="259944"/>
                  </a:cubicBezTo>
                  <a:lnTo>
                    <a:pt x="776873" y="256220"/>
                  </a:lnTo>
                  <a:lnTo>
                    <a:pt x="775756" y="256965"/>
                  </a:lnTo>
                  <a:lnTo>
                    <a:pt x="775011" y="257338"/>
                  </a:lnTo>
                  <a:cubicBezTo>
                    <a:pt x="769052" y="260689"/>
                    <a:pt x="761976" y="262551"/>
                    <a:pt x="754901" y="262551"/>
                  </a:cubicBezTo>
                  <a:cubicBezTo>
                    <a:pt x="729949" y="262551"/>
                    <a:pt x="718404" y="241324"/>
                    <a:pt x="718404" y="221958"/>
                  </a:cubicBezTo>
                  <a:cubicBezTo>
                    <a:pt x="718404" y="196262"/>
                    <a:pt x="736652" y="177641"/>
                    <a:pt x="761604" y="177641"/>
                  </a:cubicBezTo>
                  <a:close/>
                  <a:moveTo>
                    <a:pt x="706487" y="177641"/>
                  </a:moveTo>
                  <a:cubicBezTo>
                    <a:pt x="709466" y="177641"/>
                    <a:pt x="712073" y="178013"/>
                    <a:pt x="714680" y="179131"/>
                  </a:cubicBezTo>
                  <a:lnTo>
                    <a:pt x="710583" y="192538"/>
                  </a:lnTo>
                  <a:cubicBezTo>
                    <a:pt x="708721" y="192165"/>
                    <a:pt x="707232" y="192165"/>
                    <a:pt x="705370" y="192165"/>
                  </a:cubicBezTo>
                  <a:cubicBezTo>
                    <a:pt x="695315" y="192165"/>
                    <a:pt x="686004" y="197007"/>
                    <a:pt x="680418" y="205572"/>
                  </a:cubicBezTo>
                  <a:lnTo>
                    <a:pt x="680418" y="262551"/>
                  </a:lnTo>
                  <a:lnTo>
                    <a:pt x="663287" y="262551"/>
                  </a:lnTo>
                  <a:lnTo>
                    <a:pt x="663287" y="180248"/>
                  </a:lnTo>
                  <a:lnTo>
                    <a:pt x="678184" y="180248"/>
                  </a:lnTo>
                  <a:lnTo>
                    <a:pt x="678184" y="192910"/>
                  </a:lnTo>
                  <a:lnTo>
                    <a:pt x="679673" y="190303"/>
                  </a:lnTo>
                  <a:cubicBezTo>
                    <a:pt x="686377" y="182110"/>
                    <a:pt x="696059" y="177641"/>
                    <a:pt x="706487" y="177641"/>
                  </a:cubicBezTo>
                  <a:close/>
                  <a:moveTo>
                    <a:pt x="611521" y="177641"/>
                  </a:moveTo>
                  <a:cubicBezTo>
                    <a:pt x="633866" y="177641"/>
                    <a:pt x="646900" y="193655"/>
                    <a:pt x="646900" y="220096"/>
                  </a:cubicBezTo>
                  <a:cubicBezTo>
                    <a:pt x="646900" y="221586"/>
                    <a:pt x="646528" y="223448"/>
                    <a:pt x="646528" y="224565"/>
                  </a:cubicBezTo>
                  <a:cubicBezTo>
                    <a:pt x="646528" y="224938"/>
                    <a:pt x="646528" y="225682"/>
                    <a:pt x="646528" y="226055"/>
                  </a:cubicBezTo>
                  <a:lnTo>
                    <a:pt x="589549" y="226055"/>
                  </a:lnTo>
                  <a:lnTo>
                    <a:pt x="589549" y="226800"/>
                  </a:lnTo>
                  <a:cubicBezTo>
                    <a:pt x="589549" y="227544"/>
                    <a:pt x="589549" y="227917"/>
                    <a:pt x="589549" y="228662"/>
                  </a:cubicBezTo>
                  <a:cubicBezTo>
                    <a:pt x="590293" y="241696"/>
                    <a:pt x="601466" y="251379"/>
                    <a:pt x="614128" y="250634"/>
                  </a:cubicBezTo>
                  <a:cubicBezTo>
                    <a:pt x="621949" y="250634"/>
                    <a:pt x="629769" y="248400"/>
                    <a:pt x="636845" y="244675"/>
                  </a:cubicBezTo>
                  <a:lnTo>
                    <a:pt x="642804" y="255848"/>
                  </a:lnTo>
                  <a:cubicBezTo>
                    <a:pt x="633866" y="261434"/>
                    <a:pt x="623438" y="264413"/>
                    <a:pt x="612638" y="264413"/>
                  </a:cubicBezTo>
                  <a:cubicBezTo>
                    <a:pt x="588431" y="264413"/>
                    <a:pt x="572790" y="247282"/>
                    <a:pt x="572790" y="221586"/>
                  </a:cubicBezTo>
                  <a:cubicBezTo>
                    <a:pt x="572790" y="195889"/>
                    <a:pt x="588804" y="177641"/>
                    <a:pt x="611521" y="177641"/>
                  </a:cubicBezTo>
                  <a:close/>
                  <a:moveTo>
                    <a:pt x="372060" y="164979"/>
                  </a:moveTo>
                  <a:cubicBezTo>
                    <a:pt x="352694" y="164979"/>
                    <a:pt x="339287" y="182483"/>
                    <a:pt x="339287" y="208179"/>
                  </a:cubicBezTo>
                  <a:cubicBezTo>
                    <a:pt x="339287" y="232758"/>
                    <a:pt x="353067" y="250262"/>
                    <a:pt x="373177" y="250262"/>
                  </a:cubicBezTo>
                  <a:cubicBezTo>
                    <a:pt x="397756" y="250262"/>
                    <a:pt x="406322" y="227545"/>
                    <a:pt x="406322" y="206689"/>
                  </a:cubicBezTo>
                  <a:cubicBezTo>
                    <a:pt x="406322" y="182110"/>
                    <a:pt x="391425" y="164979"/>
                    <a:pt x="372060" y="164979"/>
                  </a:cubicBezTo>
                  <a:close/>
                  <a:moveTo>
                    <a:pt x="915038" y="156041"/>
                  </a:moveTo>
                  <a:lnTo>
                    <a:pt x="932541" y="156041"/>
                  </a:lnTo>
                  <a:lnTo>
                    <a:pt x="932541" y="180248"/>
                  </a:lnTo>
                  <a:lnTo>
                    <a:pt x="957121" y="180248"/>
                  </a:lnTo>
                  <a:lnTo>
                    <a:pt x="957121" y="194027"/>
                  </a:lnTo>
                  <a:lnTo>
                    <a:pt x="932541" y="194027"/>
                  </a:lnTo>
                  <a:lnTo>
                    <a:pt x="932541" y="234248"/>
                  </a:lnTo>
                  <a:cubicBezTo>
                    <a:pt x="932541" y="240951"/>
                    <a:pt x="932541" y="250262"/>
                    <a:pt x="944459" y="250262"/>
                  </a:cubicBezTo>
                  <a:cubicBezTo>
                    <a:pt x="948183" y="250262"/>
                    <a:pt x="951907" y="249517"/>
                    <a:pt x="955259" y="248027"/>
                  </a:cubicBezTo>
                  <a:lnTo>
                    <a:pt x="959728" y="259944"/>
                  </a:lnTo>
                  <a:cubicBezTo>
                    <a:pt x="953769" y="263296"/>
                    <a:pt x="947066" y="264786"/>
                    <a:pt x="940735" y="264786"/>
                  </a:cubicBezTo>
                  <a:cubicBezTo>
                    <a:pt x="933659" y="265158"/>
                    <a:pt x="926583" y="262924"/>
                    <a:pt x="920997" y="258082"/>
                  </a:cubicBezTo>
                  <a:cubicBezTo>
                    <a:pt x="915038" y="251751"/>
                    <a:pt x="915038" y="244675"/>
                    <a:pt x="915038" y="234248"/>
                  </a:cubicBezTo>
                  <a:lnTo>
                    <a:pt x="915038" y="194027"/>
                  </a:lnTo>
                  <a:lnTo>
                    <a:pt x="900514" y="194027"/>
                  </a:lnTo>
                  <a:lnTo>
                    <a:pt x="900514" y="180248"/>
                  </a:lnTo>
                  <a:lnTo>
                    <a:pt x="915038" y="180248"/>
                  </a:lnTo>
                  <a:close/>
                  <a:moveTo>
                    <a:pt x="519163" y="156041"/>
                  </a:moveTo>
                  <a:lnTo>
                    <a:pt x="536667" y="156041"/>
                  </a:lnTo>
                  <a:lnTo>
                    <a:pt x="536667" y="180248"/>
                  </a:lnTo>
                  <a:lnTo>
                    <a:pt x="561246" y="180248"/>
                  </a:lnTo>
                  <a:lnTo>
                    <a:pt x="561246" y="194027"/>
                  </a:lnTo>
                  <a:lnTo>
                    <a:pt x="536667" y="194027"/>
                  </a:lnTo>
                  <a:lnTo>
                    <a:pt x="536667" y="234248"/>
                  </a:lnTo>
                  <a:cubicBezTo>
                    <a:pt x="536667" y="240951"/>
                    <a:pt x="536667" y="250262"/>
                    <a:pt x="548956" y="250262"/>
                  </a:cubicBezTo>
                  <a:cubicBezTo>
                    <a:pt x="552680" y="250262"/>
                    <a:pt x="556404" y="249517"/>
                    <a:pt x="559756" y="248027"/>
                  </a:cubicBezTo>
                  <a:lnTo>
                    <a:pt x="564225" y="259944"/>
                  </a:lnTo>
                  <a:cubicBezTo>
                    <a:pt x="557894" y="263296"/>
                    <a:pt x="551563" y="264786"/>
                    <a:pt x="544860" y="264786"/>
                  </a:cubicBezTo>
                  <a:cubicBezTo>
                    <a:pt x="537784" y="265158"/>
                    <a:pt x="530708" y="262924"/>
                    <a:pt x="525122" y="258082"/>
                  </a:cubicBezTo>
                  <a:cubicBezTo>
                    <a:pt x="519163" y="251751"/>
                    <a:pt x="519163" y="244675"/>
                    <a:pt x="519163" y="234248"/>
                  </a:cubicBezTo>
                  <a:lnTo>
                    <a:pt x="519163" y="194027"/>
                  </a:lnTo>
                  <a:lnTo>
                    <a:pt x="504639" y="194027"/>
                  </a:lnTo>
                  <a:lnTo>
                    <a:pt x="504639" y="180248"/>
                  </a:lnTo>
                  <a:lnTo>
                    <a:pt x="519163" y="180248"/>
                  </a:lnTo>
                  <a:close/>
                  <a:moveTo>
                    <a:pt x="976114" y="150828"/>
                  </a:moveTo>
                  <a:lnTo>
                    <a:pt x="993617" y="150828"/>
                  </a:lnTo>
                  <a:lnTo>
                    <a:pt x="993617" y="262552"/>
                  </a:lnTo>
                  <a:lnTo>
                    <a:pt x="976114" y="262552"/>
                  </a:lnTo>
                  <a:close/>
                  <a:moveTo>
                    <a:pt x="866252" y="150828"/>
                  </a:moveTo>
                  <a:cubicBezTo>
                    <a:pt x="871838" y="150828"/>
                    <a:pt x="875935" y="155297"/>
                    <a:pt x="875935" y="160883"/>
                  </a:cubicBezTo>
                  <a:cubicBezTo>
                    <a:pt x="875935" y="166097"/>
                    <a:pt x="871838" y="170566"/>
                    <a:pt x="866252" y="170566"/>
                  </a:cubicBezTo>
                  <a:cubicBezTo>
                    <a:pt x="860666" y="170566"/>
                    <a:pt x="856569" y="166097"/>
                    <a:pt x="856569" y="160511"/>
                  </a:cubicBezTo>
                  <a:cubicBezTo>
                    <a:pt x="856569" y="154925"/>
                    <a:pt x="861038" y="150828"/>
                    <a:pt x="866252" y="150828"/>
                  </a:cubicBezTo>
                  <a:close/>
                  <a:moveTo>
                    <a:pt x="834597" y="150828"/>
                  </a:moveTo>
                  <a:cubicBezTo>
                    <a:pt x="840183" y="150828"/>
                    <a:pt x="844652" y="154925"/>
                    <a:pt x="844652" y="160511"/>
                  </a:cubicBezTo>
                  <a:cubicBezTo>
                    <a:pt x="844652" y="166097"/>
                    <a:pt x="840555" y="170566"/>
                    <a:pt x="834969" y="170566"/>
                  </a:cubicBezTo>
                  <a:cubicBezTo>
                    <a:pt x="829383" y="170566"/>
                    <a:pt x="824914" y="166469"/>
                    <a:pt x="824914" y="160883"/>
                  </a:cubicBezTo>
                  <a:cubicBezTo>
                    <a:pt x="824914" y="155297"/>
                    <a:pt x="829011" y="150828"/>
                    <a:pt x="834597" y="150828"/>
                  </a:cubicBezTo>
                  <a:close/>
                  <a:moveTo>
                    <a:pt x="1254307" y="150455"/>
                  </a:moveTo>
                  <a:lnTo>
                    <a:pt x="1254307" y="262179"/>
                  </a:lnTo>
                  <a:lnTo>
                    <a:pt x="1239410" y="262179"/>
                  </a:lnTo>
                  <a:lnTo>
                    <a:pt x="1239410" y="255476"/>
                  </a:lnTo>
                  <a:lnTo>
                    <a:pt x="1237921" y="256593"/>
                  </a:lnTo>
                  <a:cubicBezTo>
                    <a:pt x="1231590" y="261807"/>
                    <a:pt x="1223769" y="264414"/>
                    <a:pt x="1215576" y="264414"/>
                  </a:cubicBezTo>
                  <a:cubicBezTo>
                    <a:pt x="1193604" y="264414"/>
                    <a:pt x="1178707" y="247655"/>
                    <a:pt x="1178707" y="222331"/>
                  </a:cubicBezTo>
                  <a:cubicBezTo>
                    <a:pt x="1178707" y="197007"/>
                    <a:pt x="1195838" y="177641"/>
                    <a:pt x="1218555" y="177641"/>
                  </a:cubicBezTo>
                  <a:cubicBezTo>
                    <a:pt x="1224514" y="177641"/>
                    <a:pt x="1230472" y="178758"/>
                    <a:pt x="1235686" y="181738"/>
                  </a:cubicBezTo>
                  <a:lnTo>
                    <a:pt x="1236804" y="182483"/>
                  </a:lnTo>
                  <a:lnTo>
                    <a:pt x="1236804" y="181365"/>
                  </a:lnTo>
                  <a:lnTo>
                    <a:pt x="1236804" y="150827"/>
                  </a:lnTo>
                  <a:close/>
                  <a:moveTo>
                    <a:pt x="373177" y="150455"/>
                  </a:moveTo>
                  <a:cubicBezTo>
                    <a:pt x="403342" y="150455"/>
                    <a:pt x="424942" y="173545"/>
                    <a:pt x="424942" y="206689"/>
                  </a:cubicBezTo>
                  <a:cubicBezTo>
                    <a:pt x="424942" y="241696"/>
                    <a:pt x="403342" y="264786"/>
                    <a:pt x="372804" y="264786"/>
                  </a:cubicBezTo>
                  <a:cubicBezTo>
                    <a:pt x="342267" y="264786"/>
                    <a:pt x="321039" y="240952"/>
                    <a:pt x="321039" y="207434"/>
                  </a:cubicBezTo>
                  <a:cubicBezTo>
                    <a:pt x="321039" y="173917"/>
                    <a:pt x="342267" y="150455"/>
                    <a:pt x="373177" y="150455"/>
                  </a:cubicBezTo>
                  <a:close/>
                  <a:moveTo>
                    <a:pt x="388446" y="123269"/>
                  </a:moveTo>
                  <a:cubicBezTo>
                    <a:pt x="394032" y="123641"/>
                    <a:pt x="398129" y="128483"/>
                    <a:pt x="397756" y="133697"/>
                  </a:cubicBezTo>
                  <a:cubicBezTo>
                    <a:pt x="397384" y="138538"/>
                    <a:pt x="393660" y="142635"/>
                    <a:pt x="388446" y="143007"/>
                  </a:cubicBezTo>
                  <a:cubicBezTo>
                    <a:pt x="382860" y="142635"/>
                    <a:pt x="378763" y="137793"/>
                    <a:pt x="379135" y="132579"/>
                  </a:cubicBezTo>
                  <a:cubicBezTo>
                    <a:pt x="379508" y="127738"/>
                    <a:pt x="383604" y="123641"/>
                    <a:pt x="388446" y="123269"/>
                  </a:cubicBezTo>
                  <a:close/>
                  <a:moveTo>
                    <a:pt x="357163" y="123269"/>
                  </a:moveTo>
                  <a:cubicBezTo>
                    <a:pt x="362749" y="123269"/>
                    <a:pt x="367218" y="127366"/>
                    <a:pt x="367218" y="132952"/>
                  </a:cubicBezTo>
                  <a:cubicBezTo>
                    <a:pt x="367218" y="132952"/>
                    <a:pt x="367218" y="132952"/>
                    <a:pt x="367218" y="133324"/>
                  </a:cubicBezTo>
                  <a:cubicBezTo>
                    <a:pt x="367218" y="138538"/>
                    <a:pt x="362749" y="142635"/>
                    <a:pt x="357535" y="143007"/>
                  </a:cubicBezTo>
                  <a:cubicBezTo>
                    <a:pt x="351949" y="143007"/>
                    <a:pt x="347480" y="138910"/>
                    <a:pt x="347480" y="133324"/>
                  </a:cubicBezTo>
                  <a:cubicBezTo>
                    <a:pt x="347480" y="127738"/>
                    <a:pt x="351577" y="123269"/>
                    <a:pt x="357163" y="123269"/>
                  </a:cubicBezTo>
                  <a:close/>
                  <a:moveTo>
                    <a:pt x="465535" y="61820"/>
                  </a:moveTo>
                  <a:cubicBezTo>
                    <a:pt x="456224" y="61820"/>
                    <a:pt x="450266" y="68896"/>
                    <a:pt x="450266" y="79324"/>
                  </a:cubicBezTo>
                  <a:cubicBezTo>
                    <a:pt x="450266" y="89007"/>
                    <a:pt x="455852" y="95710"/>
                    <a:pt x="464045" y="95710"/>
                  </a:cubicBezTo>
                  <a:cubicBezTo>
                    <a:pt x="467769" y="95710"/>
                    <a:pt x="471493" y="94220"/>
                    <a:pt x="474845" y="91986"/>
                  </a:cubicBezTo>
                  <a:lnTo>
                    <a:pt x="474845" y="63683"/>
                  </a:lnTo>
                  <a:lnTo>
                    <a:pt x="474473" y="63683"/>
                  </a:lnTo>
                  <a:cubicBezTo>
                    <a:pt x="471493" y="62565"/>
                    <a:pt x="468514" y="61820"/>
                    <a:pt x="465535" y="61820"/>
                  </a:cubicBezTo>
                  <a:close/>
                  <a:moveTo>
                    <a:pt x="546721" y="61448"/>
                  </a:moveTo>
                  <a:cubicBezTo>
                    <a:pt x="538156" y="61448"/>
                    <a:pt x="532942" y="68524"/>
                    <a:pt x="532942" y="78952"/>
                  </a:cubicBezTo>
                  <a:cubicBezTo>
                    <a:pt x="532942" y="89379"/>
                    <a:pt x="538901" y="96828"/>
                    <a:pt x="547094" y="96828"/>
                  </a:cubicBezTo>
                  <a:cubicBezTo>
                    <a:pt x="555287" y="96828"/>
                    <a:pt x="560873" y="89752"/>
                    <a:pt x="560873" y="79324"/>
                  </a:cubicBezTo>
                  <a:cubicBezTo>
                    <a:pt x="560873" y="68897"/>
                    <a:pt x="555287" y="61448"/>
                    <a:pt x="546721" y="61448"/>
                  </a:cubicBezTo>
                  <a:close/>
                  <a:moveTo>
                    <a:pt x="409301" y="61076"/>
                  </a:moveTo>
                  <a:cubicBezTo>
                    <a:pt x="402225" y="61076"/>
                    <a:pt x="397012" y="66290"/>
                    <a:pt x="395894" y="74483"/>
                  </a:cubicBezTo>
                  <a:lnTo>
                    <a:pt x="395894" y="75228"/>
                  </a:lnTo>
                  <a:lnTo>
                    <a:pt x="420474" y="75228"/>
                  </a:lnTo>
                  <a:lnTo>
                    <a:pt x="420474" y="74483"/>
                  </a:lnTo>
                  <a:cubicBezTo>
                    <a:pt x="420474" y="68152"/>
                    <a:pt x="417494" y="61076"/>
                    <a:pt x="409301" y="61076"/>
                  </a:cubicBezTo>
                  <a:close/>
                  <a:moveTo>
                    <a:pt x="500170" y="57724"/>
                  </a:moveTo>
                  <a:lnTo>
                    <a:pt x="509853" y="57724"/>
                  </a:lnTo>
                  <a:lnTo>
                    <a:pt x="509853" y="103531"/>
                  </a:lnTo>
                  <a:lnTo>
                    <a:pt x="500170" y="103531"/>
                  </a:lnTo>
                  <a:close/>
                  <a:moveTo>
                    <a:pt x="606680" y="54000"/>
                  </a:moveTo>
                  <a:cubicBezTo>
                    <a:pt x="611149" y="53628"/>
                    <a:pt x="615246" y="55490"/>
                    <a:pt x="618597" y="58469"/>
                  </a:cubicBezTo>
                  <a:cubicBezTo>
                    <a:pt x="623439" y="63311"/>
                    <a:pt x="623439" y="69269"/>
                    <a:pt x="623439" y="76345"/>
                  </a:cubicBezTo>
                  <a:lnTo>
                    <a:pt x="623439" y="103904"/>
                  </a:lnTo>
                  <a:lnTo>
                    <a:pt x="614128" y="103904"/>
                  </a:lnTo>
                  <a:lnTo>
                    <a:pt x="614128" y="103531"/>
                  </a:lnTo>
                  <a:lnTo>
                    <a:pt x="614128" y="77090"/>
                  </a:lnTo>
                  <a:cubicBezTo>
                    <a:pt x="614128" y="70386"/>
                    <a:pt x="614128" y="66662"/>
                    <a:pt x="611521" y="64428"/>
                  </a:cubicBezTo>
                  <a:cubicBezTo>
                    <a:pt x="609659" y="62938"/>
                    <a:pt x="607425" y="61821"/>
                    <a:pt x="604818" y="62193"/>
                  </a:cubicBezTo>
                  <a:cubicBezTo>
                    <a:pt x="600721" y="62193"/>
                    <a:pt x="596625" y="63683"/>
                    <a:pt x="593273" y="65917"/>
                  </a:cubicBezTo>
                  <a:lnTo>
                    <a:pt x="592901" y="65917"/>
                  </a:lnTo>
                  <a:lnTo>
                    <a:pt x="592901" y="103531"/>
                  </a:lnTo>
                  <a:lnTo>
                    <a:pt x="583218" y="103531"/>
                  </a:lnTo>
                  <a:lnTo>
                    <a:pt x="583218" y="55490"/>
                  </a:lnTo>
                  <a:lnTo>
                    <a:pt x="591411" y="55490"/>
                  </a:lnTo>
                  <a:lnTo>
                    <a:pt x="591411" y="59586"/>
                  </a:lnTo>
                  <a:lnTo>
                    <a:pt x="592528" y="58842"/>
                  </a:lnTo>
                  <a:cubicBezTo>
                    <a:pt x="596625" y="55862"/>
                    <a:pt x="601839" y="54000"/>
                    <a:pt x="606680" y="54000"/>
                  </a:cubicBezTo>
                  <a:close/>
                  <a:moveTo>
                    <a:pt x="547094" y="54000"/>
                  </a:moveTo>
                  <a:cubicBezTo>
                    <a:pt x="561246" y="54000"/>
                    <a:pt x="570183" y="64055"/>
                    <a:pt x="570183" y="79324"/>
                  </a:cubicBezTo>
                  <a:cubicBezTo>
                    <a:pt x="570183" y="94593"/>
                    <a:pt x="559756" y="105021"/>
                    <a:pt x="545977" y="105021"/>
                  </a:cubicBezTo>
                  <a:cubicBezTo>
                    <a:pt x="532197" y="105021"/>
                    <a:pt x="522887" y="94966"/>
                    <a:pt x="522887" y="79697"/>
                  </a:cubicBezTo>
                  <a:cubicBezTo>
                    <a:pt x="522887" y="64428"/>
                    <a:pt x="532570" y="54000"/>
                    <a:pt x="547094" y="54000"/>
                  </a:cubicBezTo>
                  <a:close/>
                  <a:moveTo>
                    <a:pt x="409301" y="54000"/>
                  </a:moveTo>
                  <a:cubicBezTo>
                    <a:pt x="421963" y="54000"/>
                    <a:pt x="429784" y="63310"/>
                    <a:pt x="429412" y="78579"/>
                  </a:cubicBezTo>
                  <a:cubicBezTo>
                    <a:pt x="429412" y="79697"/>
                    <a:pt x="429412" y="80814"/>
                    <a:pt x="429412" y="81186"/>
                  </a:cubicBezTo>
                  <a:cubicBezTo>
                    <a:pt x="429412" y="81559"/>
                    <a:pt x="429412" y="81559"/>
                    <a:pt x="429412" y="81931"/>
                  </a:cubicBezTo>
                  <a:lnTo>
                    <a:pt x="395894" y="81931"/>
                  </a:lnTo>
                  <a:lnTo>
                    <a:pt x="395894" y="82676"/>
                  </a:lnTo>
                  <a:cubicBezTo>
                    <a:pt x="395894" y="83048"/>
                    <a:pt x="395894" y="83793"/>
                    <a:pt x="395894" y="84166"/>
                  </a:cubicBezTo>
                  <a:cubicBezTo>
                    <a:pt x="396267" y="91986"/>
                    <a:pt x="402970" y="97572"/>
                    <a:pt x="410791" y="97200"/>
                  </a:cubicBezTo>
                  <a:cubicBezTo>
                    <a:pt x="415632" y="97200"/>
                    <a:pt x="420101" y="95710"/>
                    <a:pt x="424198" y="93476"/>
                  </a:cubicBezTo>
                  <a:lnTo>
                    <a:pt x="427549" y="99807"/>
                  </a:lnTo>
                  <a:cubicBezTo>
                    <a:pt x="422336" y="102786"/>
                    <a:pt x="416377" y="104648"/>
                    <a:pt x="410046" y="104648"/>
                  </a:cubicBezTo>
                  <a:cubicBezTo>
                    <a:pt x="395894" y="104648"/>
                    <a:pt x="386584" y="94593"/>
                    <a:pt x="386584" y="79697"/>
                  </a:cubicBezTo>
                  <a:cubicBezTo>
                    <a:pt x="386584" y="64800"/>
                    <a:pt x="395894" y="54000"/>
                    <a:pt x="409301" y="54000"/>
                  </a:cubicBezTo>
                  <a:close/>
                  <a:moveTo>
                    <a:pt x="465907" y="53627"/>
                  </a:moveTo>
                  <a:cubicBezTo>
                    <a:pt x="472238" y="54000"/>
                    <a:pt x="478569" y="55489"/>
                    <a:pt x="484528" y="58469"/>
                  </a:cubicBezTo>
                  <a:lnTo>
                    <a:pt x="484528" y="103531"/>
                  </a:lnTo>
                  <a:cubicBezTo>
                    <a:pt x="484528" y="110979"/>
                    <a:pt x="484155" y="116193"/>
                    <a:pt x="479686" y="120662"/>
                  </a:cubicBezTo>
                  <a:cubicBezTo>
                    <a:pt x="474845" y="124758"/>
                    <a:pt x="468886" y="126993"/>
                    <a:pt x="462555" y="126620"/>
                  </a:cubicBezTo>
                  <a:cubicBezTo>
                    <a:pt x="455480" y="126993"/>
                    <a:pt x="448404" y="124758"/>
                    <a:pt x="442445" y="120289"/>
                  </a:cubicBezTo>
                  <a:lnTo>
                    <a:pt x="446542" y="113958"/>
                  </a:lnTo>
                  <a:cubicBezTo>
                    <a:pt x="451011" y="116938"/>
                    <a:pt x="456224" y="118800"/>
                    <a:pt x="461438" y="119172"/>
                  </a:cubicBezTo>
                  <a:cubicBezTo>
                    <a:pt x="464790" y="119172"/>
                    <a:pt x="468514" y="117683"/>
                    <a:pt x="471121" y="115448"/>
                  </a:cubicBezTo>
                  <a:cubicBezTo>
                    <a:pt x="474473" y="112469"/>
                    <a:pt x="474845" y="108372"/>
                    <a:pt x="474845" y="103531"/>
                  </a:cubicBezTo>
                  <a:lnTo>
                    <a:pt x="474845" y="99807"/>
                  </a:lnTo>
                  <a:lnTo>
                    <a:pt x="473728" y="100179"/>
                  </a:lnTo>
                  <a:lnTo>
                    <a:pt x="473355" y="100551"/>
                  </a:lnTo>
                  <a:cubicBezTo>
                    <a:pt x="470004" y="102414"/>
                    <a:pt x="465907" y="103531"/>
                    <a:pt x="461811" y="103531"/>
                  </a:cubicBezTo>
                  <a:cubicBezTo>
                    <a:pt x="447286" y="103531"/>
                    <a:pt x="440583" y="91241"/>
                    <a:pt x="440583" y="79696"/>
                  </a:cubicBezTo>
                  <a:cubicBezTo>
                    <a:pt x="440583" y="78951"/>
                    <a:pt x="440583" y="78579"/>
                    <a:pt x="440583" y="77834"/>
                  </a:cubicBezTo>
                  <a:cubicBezTo>
                    <a:pt x="440955" y="64055"/>
                    <a:pt x="452128" y="53255"/>
                    <a:pt x="465907" y="53627"/>
                  </a:cubicBezTo>
                  <a:close/>
                  <a:moveTo>
                    <a:pt x="342267" y="45807"/>
                  </a:moveTo>
                  <a:lnTo>
                    <a:pt x="342267" y="68152"/>
                  </a:lnTo>
                  <a:lnTo>
                    <a:pt x="347480" y="68152"/>
                  </a:lnTo>
                  <a:cubicBezTo>
                    <a:pt x="353067" y="68152"/>
                    <a:pt x="357536" y="67780"/>
                    <a:pt x="360887" y="64800"/>
                  </a:cubicBezTo>
                  <a:cubicBezTo>
                    <a:pt x="364984" y="60331"/>
                    <a:pt x="364984" y="53628"/>
                    <a:pt x="361260" y="48786"/>
                  </a:cubicBezTo>
                  <a:cubicBezTo>
                    <a:pt x="358280" y="46552"/>
                    <a:pt x="354556" y="45435"/>
                    <a:pt x="350832" y="45807"/>
                  </a:cubicBezTo>
                  <a:close/>
                  <a:moveTo>
                    <a:pt x="505011" y="37986"/>
                  </a:moveTo>
                  <a:cubicBezTo>
                    <a:pt x="508362" y="37986"/>
                    <a:pt x="510969" y="40593"/>
                    <a:pt x="510969" y="43945"/>
                  </a:cubicBezTo>
                  <a:cubicBezTo>
                    <a:pt x="510969" y="46924"/>
                    <a:pt x="508362" y="49531"/>
                    <a:pt x="505011" y="49531"/>
                  </a:cubicBezTo>
                  <a:cubicBezTo>
                    <a:pt x="501659" y="49531"/>
                    <a:pt x="499052" y="46924"/>
                    <a:pt x="499052" y="43945"/>
                  </a:cubicBezTo>
                  <a:cubicBezTo>
                    <a:pt x="499052" y="40593"/>
                    <a:pt x="501659" y="37986"/>
                    <a:pt x="505011" y="37986"/>
                  </a:cubicBezTo>
                  <a:close/>
                  <a:moveTo>
                    <a:pt x="331839" y="37614"/>
                  </a:moveTo>
                  <a:lnTo>
                    <a:pt x="348970" y="37614"/>
                  </a:lnTo>
                  <a:cubicBezTo>
                    <a:pt x="357536" y="37614"/>
                    <a:pt x="363867" y="37986"/>
                    <a:pt x="368708" y="42828"/>
                  </a:cubicBezTo>
                  <a:cubicBezTo>
                    <a:pt x="372060" y="46180"/>
                    <a:pt x="373922" y="51021"/>
                    <a:pt x="373922" y="55862"/>
                  </a:cubicBezTo>
                  <a:cubicBezTo>
                    <a:pt x="374294" y="59959"/>
                    <a:pt x="372804" y="64428"/>
                    <a:pt x="369825" y="67407"/>
                  </a:cubicBezTo>
                  <a:cubicBezTo>
                    <a:pt x="366846" y="70386"/>
                    <a:pt x="363122" y="72248"/>
                    <a:pt x="359025" y="72621"/>
                  </a:cubicBezTo>
                  <a:cubicBezTo>
                    <a:pt x="361632" y="72993"/>
                    <a:pt x="363867" y="74483"/>
                    <a:pt x="365729" y="76345"/>
                  </a:cubicBezTo>
                  <a:cubicBezTo>
                    <a:pt x="367591" y="78952"/>
                    <a:pt x="369080" y="81559"/>
                    <a:pt x="370198" y="84538"/>
                  </a:cubicBezTo>
                  <a:lnTo>
                    <a:pt x="378391" y="103531"/>
                  </a:lnTo>
                  <a:lnTo>
                    <a:pt x="367591" y="103531"/>
                  </a:lnTo>
                  <a:lnTo>
                    <a:pt x="359770" y="86028"/>
                  </a:lnTo>
                  <a:cubicBezTo>
                    <a:pt x="355301" y="76345"/>
                    <a:pt x="352694" y="75973"/>
                    <a:pt x="345246" y="75973"/>
                  </a:cubicBezTo>
                  <a:lnTo>
                    <a:pt x="341894" y="75973"/>
                  </a:lnTo>
                  <a:lnTo>
                    <a:pt x="341894" y="103531"/>
                  </a:lnTo>
                  <a:lnTo>
                    <a:pt x="331839" y="103531"/>
                  </a:lnTo>
                  <a:close/>
                  <a:moveTo>
                    <a:pt x="131481" y="12290"/>
                  </a:moveTo>
                  <a:cubicBezTo>
                    <a:pt x="122915" y="18248"/>
                    <a:pt x="116957" y="27186"/>
                    <a:pt x="113605" y="36869"/>
                  </a:cubicBezTo>
                  <a:cubicBezTo>
                    <a:pt x="110253" y="30166"/>
                    <a:pt x="102805" y="18621"/>
                    <a:pt x="96846" y="17876"/>
                  </a:cubicBezTo>
                  <a:cubicBezTo>
                    <a:pt x="90143" y="21972"/>
                    <a:pt x="89398" y="41338"/>
                    <a:pt x="92377" y="52883"/>
                  </a:cubicBezTo>
                  <a:cubicBezTo>
                    <a:pt x="83439" y="44317"/>
                    <a:pt x="67053" y="35007"/>
                    <a:pt x="60722" y="38731"/>
                  </a:cubicBezTo>
                  <a:cubicBezTo>
                    <a:pt x="58115" y="44690"/>
                    <a:pt x="63702" y="56607"/>
                    <a:pt x="67798" y="62938"/>
                  </a:cubicBezTo>
                  <a:cubicBezTo>
                    <a:pt x="58488" y="60703"/>
                    <a:pt x="43964" y="62193"/>
                    <a:pt x="38005" y="65917"/>
                  </a:cubicBezTo>
                  <a:cubicBezTo>
                    <a:pt x="45081" y="73738"/>
                    <a:pt x="54391" y="78579"/>
                    <a:pt x="64446" y="80069"/>
                  </a:cubicBezTo>
                  <a:cubicBezTo>
                    <a:pt x="74502" y="82303"/>
                    <a:pt x="84557" y="84538"/>
                    <a:pt x="90888" y="91614"/>
                  </a:cubicBezTo>
                  <a:cubicBezTo>
                    <a:pt x="103550" y="106138"/>
                    <a:pt x="132970" y="139655"/>
                    <a:pt x="134460" y="141145"/>
                  </a:cubicBezTo>
                  <a:cubicBezTo>
                    <a:pt x="132598" y="140772"/>
                    <a:pt x="88281" y="132207"/>
                    <a:pt x="69288" y="128483"/>
                  </a:cubicBezTo>
                  <a:cubicBezTo>
                    <a:pt x="59605" y="126621"/>
                    <a:pt x="52529" y="118800"/>
                    <a:pt x="45826" y="111352"/>
                  </a:cubicBezTo>
                  <a:cubicBezTo>
                    <a:pt x="39495" y="103531"/>
                    <a:pt x="30557" y="98317"/>
                    <a:pt x="20874" y="96083"/>
                  </a:cubicBezTo>
                  <a:cubicBezTo>
                    <a:pt x="20502" y="103159"/>
                    <a:pt x="26088" y="116566"/>
                    <a:pt x="32791" y="123641"/>
                  </a:cubicBezTo>
                  <a:cubicBezTo>
                    <a:pt x="25715" y="123269"/>
                    <a:pt x="12309" y="124014"/>
                    <a:pt x="8957" y="128483"/>
                  </a:cubicBezTo>
                  <a:cubicBezTo>
                    <a:pt x="9329" y="135931"/>
                    <a:pt x="25715" y="146359"/>
                    <a:pt x="37260" y="149710"/>
                  </a:cubicBezTo>
                  <a:cubicBezTo>
                    <a:pt x="25715" y="153062"/>
                    <a:pt x="9329" y="163490"/>
                    <a:pt x="8957" y="170938"/>
                  </a:cubicBezTo>
                  <a:cubicBezTo>
                    <a:pt x="11936" y="175407"/>
                    <a:pt x="25715" y="176152"/>
                    <a:pt x="32791" y="175779"/>
                  </a:cubicBezTo>
                  <a:cubicBezTo>
                    <a:pt x="26460" y="182855"/>
                    <a:pt x="20874" y="196262"/>
                    <a:pt x="20874" y="203338"/>
                  </a:cubicBezTo>
                  <a:cubicBezTo>
                    <a:pt x="30557" y="201476"/>
                    <a:pt x="39122" y="195890"/>
                    <a:pt x="45453" y="188069"/>
                  </a:cubicBezTo>
                  <a:cubicBezTo>
                    <a:pt x="52157" y="180248"/>
                    <a:pt x="59233" y="172428"/>
                    <a:pt x="68915" y="170566"/>
                  </a:cubicBezTo>
                  <a:cubicBezTo>
                    <a:pt x="87908" y="166841"/>
                    <a:pt x="131853" y="158276"/>
                    <a:pt x="134088" y="157903"/>
                  </a:cubicBezTo>
                  <a:cubicBezTo>
                    <a:pt x="132598" y="159393"/>
                    <a:pt x="103177" y="192910"/>
                    <a:pt x="90515" y="207434"/>
                  </a:cubicBezTo>
                  <a:cubicBezTo>
                    <a:pt x="84184" y="214883"/>
                    <a:pt x="74129" y="216745"/>
                    <a:pt x="64074" y="218979"/>
                  </a:cubicBezTo>
                  <a:cubicBezTo>
                    <a:pt x="53646" y="220469"/>
                    <a:pt x="44336" y="225310"/>
                    <a:pt x="37633" y="233131"/>
                  </a:cubicBezTo>
                  <a:cubicBezTo>
                    <a:pt x="43591" y="236483"/>
                    <a:pt x="58115" y="238345"/>
                    <a:pt x="67426" y="236110"/>
                  </a:cubicBezTo>
                  <a:cubicBezTo>
                    <a:pt x="63702" y="242069"/>
                    <a:pt x="57371" y="254359"/>
                    <a:pt x="58860" y="259572"/>
                  </a:cubicBezTo>
                  <a:cubicBezTo>
                    <a:pt x="65936" y="263297"/>
                    <a:pt x="81950" y="255103"/>
                    <a:pt x="91260" y="246166"/>
                  </a:cubicBezTo>
                  <a:cubicBezTo>
                    <a:pt x="88281" y="258455"/>
                    <a:pt x="89398" y="276331"/>
                    <a:pt x="96102" y="280800"/>
                  </a:cubicBezTo>
                  <a:cubicBezTo>
                    <a:pt x="101688" y="280055"/>
                    <a:pt x="109136" y="268138"/>
                    <a:pt x="112488" y="261807"/>
                  </a:cubicBezTo>
                  <a:cubicBezTo>
                    <a:pt x="115839" y="271490"/>
                    <a:pt x="122170" y="280055"/>
                    <a:pt x="130364" y="286386"/>
                  </a:cubicBezTo>
                  <a:cubicBezTo>
                    <a:pt x="133715" y="276703"/>
                    <a:pt x="133343" y="266276"/>
                    <a:pt x="129619" y="256593"/>
                  </a:cubicBezTo>
                  <a:cubicBezTo>
                    <a:pt x="126639" y="247283"/>
                    <a:pt x="123660" y="237600"/>
                    <a:pt x="126639" y="228290"/>
                  </a:cubicBezTo>
                  <a:cubicBezTo>
                    <a:pt x="132970" y="209669"/>
                    <a:pt x="147122" y="167586"/>
                    <a:pt x="147867" y="165724"/>
                  </a:cubicBezTo>
                  <a:cubicBezTo>
                    <a:pt x="148612" y="167959"/>
                    <a:pt x="162764" y="209669"/>
                    <a:pt x="169095" y="228290"/>
                  </a:cubicBezTo>
                  <a:cubicBezTo>
                    <a:pt x="172446" y="237228"/>
                    <a:pt x="169095" y="247283"/>
                    <a:pt x="166115" y="256593"/>
                  </a:cubicBezTo>
                  <a:cubicBezTo>
                    <a:pt x="162391" y="266276"/>
                    <a:pt x="162019" y="276703"/>
                    <a:pt x="165370" y="286386"/>
                  </a:cubicBezTo>
                  <a:cubicBezTo>
                    <a:pt x="173936" y="280055"/>
                    <a:pt x="179895" y="271490"/>
                    <a:pt x="183246" y="261807"/>
                  </a:cubicBezTo>
                  <a:cubicBezTo>
                    <a:pt x="186598" y="268510"/>
                    <a:pt x="194046" y="280055"/>
                    <a:pt x="199632" y="280800"/>
                  </a:cubicBezTo>
                  <a:cubicBezTo>
                    <a:pt x="206336" y="276703"/>
                    <a:pt x="207826" y="258828"/>
                    <a:pt x="204474" y="246166"/>
                  </a:cubicBezTo>
                  <a:cubicBezTo>
                    <a:pt x="213784" y="255476"/>
                    <a:pt x="229798" y="263297"/>
                    <a:pt x="236874" y="259572"/>
                  </a:cubicBezTo>
                  <a:cubicBezTo>
                    <a:pt x="239108" y="254359"/>
                    <a:pt x="232777" y="242069"/>
                    <a:pt x="229053" y="236110"/>
                  </a:cubicBezTo>
                  <a:cubicBezTo>
                    <a:pt x="238363" y="238345"/>
                    <a:pt x="252888" y="236855"/>
                    <a:pt x="258846" y="233131"/>
                  </a:cubicBezTo>
                  <a:cubicBezTo>
                    <a:pt x="252143" y="225310"/>
                    <a:pt x="242460" y="220469"/>
                    <a:pt x="232405" y="218979"/>
                  </a:cubicBezTo>
                  <a:cubicBezTo>
                    <a:pt x="222350" y="216745"/>
                    <a:pt x="212294" y="214510"/>
                    <a:pt x="205963" y="207434"/>
                  </a:cubicBezTo>
                  <a:cubicBezTo>
                    <a:pt x="193301" y="192910"/>
                    <a:pt x="163881" y="159393"/>
                    <a:pt x="162391" y="157903"/>
                  </a:cubicBezTo>
                  <a:cubicBezTo>
                    <a:pt x="164253" y="158276"/>
                    <a:pt x="208570" y="166841"/>
                    <a:pt x="227563" y="170566"/>
                  </a:cubicBezTo>
                  <a:cubicBezTo>
                    <a:pt x="237246" y="172428"/>
                    <a:pt x="244322" y="180248"/>
                    <a:pt x="251025" y="187697"/>
                  </a:cubicBezTo>
                  <a:cubicBezTo>
                    <a:pt x="257357" y="195517"/>
                    <a:pt x="266294" y="200731"/>
                    <a:pt x="275977" y="202966"/>
                  </a:cubicBezTo>
                  <a:cubicBezTo>
                    <a:pt x="276350" y="195890"/>
                    <a:pt x="270763" y="182483"/>
                    <a:pt x="264060" y="175407"/>
                  </a:cubicBezTo>
                  <a:cubicBezTo>
                    <a:pt x="271136" y="175779"/>
                    <a:pt x="284543" y="175034"/>
                    <a:pt x="289384" y="170938"/>
                  </a:cubicBezTo>
                  <a:cubicBezTo>
                    <a:pt x="289384" y="163490"/>
                    <a:pt x="272625" y="153062"/>
                    <a:pt x="261081" y="149710"/>
                  </a:cubicBezTo>
                  <a:cubicBezTo>
                    <a:pt x="272625" y="146359"/>
                    <a:pt x="289012" y="135931"/>
                    <a:pt x="289384" y="128483"/>
                  </a:cubicBezTo>
                  <a:cubicBezTo>
                    <a:pt x="286032" y="124014"/>
                    <a:pt x="272625" y="123269"/>
                    <a:pt x="265550" y="123641"/>
                  </a:cubicBezTo>
                  <a:cubicBezTo>
                    <a:pt x="271881" y="116566"/>
                    <a:pt x="277467" y="103159"/>
                    <a:pt x="277467" y="96083"/>
                  </a:cubicBezTo>
                  <a:cubicBezTo>
                    <a:pt x="267412" y="97945"/>
                    <a:pt x="258846" y="103531"/>
                    <a:pt x="252515" y="111352"/>
                  </a:cubicBezTo>
                  <a:cubicBezTo>
                    <a:pt x="245812" y="118800"/>
                    <a:pt x="238736" y="126621"/>
                    <a:pt x="229053" y="128483"/>
                  </a:cubicBezTo>
                  <a:cubicBezTo>
                    <a:pt x="210060" y="132207"/>
                    <a:pt x="165743" y="140772"/>
                    <a:pt x="163881" y="141145"/>
                  </a:cubicBezTo>
                  <a:cubicBezTo>
                    <a:pt x="165370" y="139655"/>
                    <a:pt x="194791" y="106138"/>
                    <a:pt x="207453" y="91614"/>
                  </a:cubicBezTo>
                  <a:cubicBezTo>
                    <a:pt x="213784" y="84166"/>
                    <a:pt x="223839" y="82303"/>
                    <a:pt x="233894" y="80069"/>
                  </a:cubicBezTo>
                  <a:cubicBezTo>
                    <a:pt x="244322" y="78952"/>
                    <a:pt x="253632" y="73738"/>
                    <a:pt x="260336" y="65917"/>
                  </a:cubicBezTo>
                  <a:cubicBezTo>
                    <a:pt x="254005" y="62193"/>
                    <a:pt x="239853" y="60703"/>
                    <a:pt x="230543" y="62938"/>
                  </a:cubicBezTo>
                  <a:cubicBezTo>
                    <a:pt x="234639" y="56607"/>
                    <a:pt x="240226" y="44690"/>
                    <a:pt x="237619" y="38731"/>
                  </a:cubicBezTo>
                  <a:cubicBezTo>
                    <a:pt x="231288" y="35379"/>
                    <a:pt x="214529" y="44317"/>
                    <a:pt x="205963" y="52883"/>
                  </a:cubicBezTo>
                  <a:cubicBezTo>
                    <a:pt x="208943" y="41338"/>
                    <a:pt x="207826" y="21600"/>
                    <a:pt x="201495" y="17876"/>
                  </a:cubicBezTo>
                  <a:cubicBezTo>
                    <a:pt x="195536" y="18621"/>
                    <a:pt x="187715" y="30166"/>
                    <a:pt x="184363" y="36869"/>
                  </a:cubicBezTo>
                  <a:cubicBezTo>
                    <a:pt x="181384" y="27559"/>
                    <a:pt x="172819" y="16014"/>
                    <a:pt x="166488" y="12290"/>
                  </a:cubicBezTo>
                  <a:cubicBezTo>
                    <a:pt x="163136" y="21972"/>
                    <a:pt x="163508" y="32400"/>
                    <a:pt x="167232" y="42083"/>
                  </a:cubicBezTo>
                  <a:cubicBezTo>
                    <a:pt x="170212" y="51393"/>
                    <a:pt x="173191" y="61076"/>
                    <a:pt x="170212" y="70386"/>
                  </a:cubicBezTo>
                  <a:cubicBezTo>
                    <a:pt x="164253" y="89007"/>
                    <a:pt x="149729" y="131090"/>
                    <a:pt x="148984" y="132952"/>
                  </a:cubicBezTo>
                  <a:cubicBezTo>
                    <a:pt x="148239" y="130717"/>
                    <a:pt x="134088" y="89007"/>
                    <a:pt x="127757" y="70386"/>
                  </a:cubicBezTo>
                  <a:cubicBezTo>
                    <a:pt x="124405" y="61448"/>
                    <a:pt x="127757" y="51393"/>
                    <a:pt x="130736" y="42083"/>
                  </a:cubicBezTo>
                  <a:cubicBezTo>
                    <a:pt x="134460" y="32772"/>
                    <a:pt x="134833" y="21972"/>
                    <a:pt x="131481" y="12290"/>
                  </a:cubicBezTo>
                  <a:close/>
                  <a:moveTo>
                    <a:pt x="134833" y="0"/>
                  </a:moveTo>
                  <a:cubicBezTo>
                    <a:pt x="151591" y="32772"/>
                    <a:pt x="131853" y="41338"/>
                    <a:pt x="134833" y="67779"/>
                  </a:cubicBezTo>
                  <a:cubicBezTo>
                    <a:pt x="138557" y="78952"/>
                    <a:pt x="144515" y="96828"/>
                    <a:pt x="148239" y="107255"/>
                  </a:cubicBezTo>
                  <a:cubicBezTo>
                    <a:pt x="152336" y="94966"/>
                    <a:pt x="157922" y="78207"/>
                    <a:pt x="161646" y="67779"/>
                  </a:cubicBezTo>
                  <a:cubicBezTo>
                    <a:pt x="164253" y="40966"/>
                    <a:pt x="144888" y="32400"/>
                    <a:pt x="161646" y="0"/>
                  </a:cubicBezTo>
                  <a:cubicBezTo>
                    <a:pt x="170584" y="4469"/>
                    <a:pt x="178777" y="11172"/>
                    <a:pt x="184363" y="19738"/>
                  </a:cubicBezTo>
                  <a:cubicBezTo>
                    <a:pt x="190322" y="12662"/>
                    <a:pt x="196281" y="8938"/>
                    <a:pt x="202612" y="9310"/>
                  </a:cubicBezTo>
                  <a:cubicBezTo>
                    <a:pt x="208943" y="12662"/>
                    <a:pt x="214157" y="21228"/>
                    <a:pt x="214901" y="34634"/>
                  </a:cubicBezTo>
                  <a:cubicBezTo>
                    <a:pt x="227191" y="27931"/>
                    <a:pt x="236501" y="29048"/>
                    <a:pt x="242088" y="32400"/>
                  </a:cubicBezTo>
                  <a:cubicBezTo>
                    <a:pt x="246557" y="38731"/>
                    <a:pt x="244322" y="49159"/>
                    <a:pt x="242832" y="53255"/>
                  </a:cubicBezTo>
                  <a:cubicBezTo>
                    <a:pt x="253260" y="53628"/>
                    <a:pt x="262943" y="57352"/>
                    <a:pt x="271136" y="62938"/>
                  </a:cubicBezTo>
                  <a:cubicBezTo>
                    <a:pt x="251770" y="93848"/>
                    <a:pt x="233894" y="81186"/>
                    <a:pt x="212294" y="96828"/>
                  </a:cubicBezTo>
                  <a:cubicBezTo>
                    <a:pt x="204101" y="106138"/>
                    <a:pt x="190322" y="121779"/>
                    <a:pt x="184736" y="128110"/>
                  </a:cubicBezTo>
                  <a:cubicBezTo>
                    <a:pt x="195536" y="125876"/>
                    <a:pt x="214157" y="122152"/>
                    <a:pt x="226074" y="119917"/>
                  </a:cubicBezTo>
                  <a:cubicBezTo>
                    <a:pt x="250281" y="109490"/>
                    <a:pt x="248046" y="87890"/>
                    <a:pt x="284543" y="85655"/>
                  </a:cubicBezTo>
                  <a:cubicBezTo>
                    <a:pt x="285660" y="95710"/>
                    <a:pt x="283798" y="106138"/>
                    <a:pt x="279329" y="115448"/>
                  </a:cubicBezTo>
                  <a:cubicBezTo>
                    <a:pt x="285288" y="116566"/>
                    <a:pt x="293481" y="119172"/>
                    <a:pt x="296460" y="125876"/>
                  </a:cubicBezTo>
                  <a:cubicBezTo>
                    <a:pt x="296460" y="133324"/>
                    <a:pt x="291991" y="141890"/>
                    <a:pt x="280074" y="149338"/>
                  </a:cubicBezTo>
                  <a:cubicBezTo>
                    <a:pt x="291619" y="156786"/>
                    <a:pt x="296832" y="165724"/>
                    <a:pt x="296460" y="173172"/>
                  </a:cubicBezTo>
                  <a:cubicBezTo>
                    <a:pt x="293481" y="179876"/>
                    <a:pt x="285660" y="182483"/>
                    <a:pt x="279329" y="183600"/>
                  </a:cubicBezTo>
                  <a:cubicBezTo>
                    <a:pt x="283798" y="192910"/>
                    <a:pt x="285660" y="203338"/>
                    <a:pt x="284543" y="213393"/>
                  </a:cubicBezTo>
                  <a:cubicBezTo>
                    <a:pt x="248791" y="211531"/>
                    <a:pt x="249908" y="189559"/>
                    <a:pt x="226074" y="179131"/>
                  </a:cubicBezTo>
                  <a:cubicBezTo>
                    <a:pt x="214529" y="176897"/>
                    <a:pt x="195536" y="173172"/>
                    <a:pt x="184736" y="170938"/>
                  </a:cubicBezTo>
                  <a:cubicBezTo>
                    <a:pt x="192184" y="179131"/>
                    <a:pt x="204474" y="193283"/>
                    <a:pt x="212294" y="202221"/>
                  </a:cubicBezTo>
                  <a:cubicBezTo>
                    <a:pt x="233894" y="217862"/>
                    <a:pt x="251398" y="205200"/>
                    <a:pt x="271136" y="236110"/>
                  </a:cubicBezTo>
                  <a:cubicBezTo>
                    <a:pt x="262943" y="241697"/>
                    <a:pt x="253260" y="245048"/>
                    <a:pt x="243205" y="245793"/>
                  </a:cubicBezTo>
                  <a:cubicBezTo>
                    <a:pt x="245812" y="251752"/>
                    <a:pt x="247301" y="259945"/>
                    <a:pt x="243205" y="265903"/>
                  </a:cubicBezTo>
                  <a:cubicBezTo>
                    <a:pt x="236874" y="269628"/>
                    <a:pt x="226819" y="270000"/>
                    <a:pt x="214901" y="264041"/>
                  </a:cubicBezTo>
                  <a:cubicBezTo>
                    <a:pt x="214157" y="277448"/>
                    <a:pt x="208570" y="285641"/>
                    <a:pt x="202239" y="289366"/>
                  </a:cubicBezTo>
                  <a:cubicBezTo>
                    <a:pt x="194791" y="290110"/>
                    <a:pt x="187715" y="283407"/>
                    <a:pt x="184363" y="278938"/>
                  </a:cubicBezTo>
                  <a:cubicBezTo>
                    <a:pt x="178777" y="287503"/>
                    <a:pt x="170957" y="294207"/>
                    <a:pt x="161646" y="298676"/>
                  </a:cubicBezTo>
                  <a:cubicBezTo>
                    <a:pt x="144888" y="266648"/>
                    <a:pt x="164253" y="257338"/>
                    <a:pt x="161646" y="230897"/>
                  </a:cubicBezTo>
                  <a:cubicBezTo>
                    <a:pt x="157922" y="219724"/>
                    <a:pt x="151964" y="201848"/>
                    <a:pt x="148239" y="191421"/>
                  </a:cubicBezTo>
                  <a:cubicBezTo>
                    <a:pt x="144143" y="203710"/>
                    <a:pt x="138557" y="220469"/>
                    <a:pt x="134833" y="230897"/>
                  </a:cubicBezTo>
                  <a:cubicBezTo>
                    <a:pt x="131853" y="257710"/>
                    <a:pt x="151591" y="265903"/>
                    <a:pt x="134833" y="298676"/>
                  </a:cubicBezTo>
                  <a:cubicBezTo>
                    <a:pt x="125522" y="294207"/>
                    <a:pt x="117701" y="287503"/>
                    <a:pt x="112115" y="278938"/>
                  </a:cubicBezTo>
                  <a:cubicBezTo>
                    <a:pt x="108764" y="283407"/>
                    <a:pt x="101688" y="290110"/>
                    <a:pt x="94239" y="289366"/>
                  </a:cubicBezTo>
                  <a:cubicBezTo>
                    <a:pt x="87536" y="286014"/>
                    <a:pt x="82322" y="277448"/>
                    <a:pt x="81577" y="264041"/>
                  </a:cubicBezTo>
                  <a:cubicBezTo>
                    <a:pt x="69660" y="270372"/>
                    <a:pt x="59605" y="269628"/>
                    <a:pt x="53274" y="265903"/>
                  </a:cubicBezTo>
                  <a:cubicBezTo>
                    <a:pt x="49177" y="259945"/>
                    <a:pt x="51040" y="251752"/>
                    <a:pt x="53274" y="245793"/>
                  </a:cubicBezTo>
                  <a:cubicBezTo>
                    <a:pt x="43219" y="245421"/>
                    <a:pt x="33536" y="241697"/>
                    <a:pt x="25343" y="236110"/>
                  </a:cubicBezTo>
                  <a:cubicBezTo>
                    <a:pt x="44708" y="205200"/>
                    <a:pt x="62584" y="217862"/>
                    <a:pt x="84184" y="202221"/>
                  </a:cubicBezTo>
                  <a:cubicBezTo>
                    <a:pt x="92005" y="193283"/>
                    <a:pt x="104295" y="179131"/>
                    <a:pt x="111743" y="170938"/>
                  </a:cubicBezTo>
                  <a:cubicBezTo>
                    <a:pt x="98708" y="173545"/>
                    <a:pt x="81205" y="176897"/>
                    <a:pt x="70405" y="179131"/>
                  </a:cubicBezTo>
                  <a:cubicBezTo>
                    <a:pt x="46198" y="189559"/>
                    <a:pt x="47688" y="211531"/>
                    <a:pt x="11936" y="213393"/>
                  </a:cubicBezTo>
                  <a:cubicBezTo>
                    <a:pt x="10819" y="203338"/>
                    <a:pt x="12681" y="192910"/>
                    <a:pt x="17150" y="183600"/>
                  </a:cubicBezTo>
                  <a:cubicBezTo>
                    <a:pt x="11191" y="182483"/>
                    <a:pt x="2998" y="179876"/>
                    <a:pt x="19" y="173172"/>
                  </a:cubicBezTo>
                  <a:cubicBezTo>
                    <a:pt x="-354" y="165724"/>
                    <a:pt x="4488" y="157159"/>
                    <a:pt x="16405" y="149710"/>
                  </a:cubicBezTo>
                  <a:cubicBezTo>
                    <a:pt x="4488" y="142262"/>
                    <a:pt x="19" y="133324"/>
                    <a:pt x="19" y="126248"/>
                  </a:cubicBezTo>
                  <a:cubicBezTo>
                    <a:pt x="2998" y="119545"/>
                    <a:pt x="10819" y="116938"/>
                    <a:pt x="17150" y="115821"/>
                  </a:cubicBezTo>
                  <a:cubicBezTo>
                    <a:pt x="12681" y="106510"/>
                    <a:pt x="10819" y="96083"/>
                    <a:pt x="11936" y="86028"/>
                  </a:cubicBezTo>
                  <a:cubicBezTo>
                    <a:pt x="48433" y="88262"/>
                    <a:pt x="46571" y="109862"/>
                    <a:pt x="70405" y="120290"/>
                  </a:cubicBezTo>
                  <a:cubicBezTo>
                    <a:pt x="81950" y="122897"/>
                    <a:pt x="100943" y="126248"/>
                    <a:pt x="111743" y="128483"/>
                  </a:cubicBezTo>
                  <a:cubicBezTo>
                    <a:pt x="106157" y="122524"/>
                    <a:pt x="92377" y="106510"/>
                    <a:pt x="84184" y="97200"/>
                  </a:cubicBezTo>
                  <a:cubicBezTo>
                    <a:pt x="62584" y="81559"/>
                    <a:pt x="45081" y="94593"/>
                    <a:pt x="25343" y="63683"/>
                  </a:cubicBezTo>
                  <a:cubicBezTo>
                    <a:pt x="33908" y="57724"/>
                    <a:pt x="43591" y="54372"/>
                    <a:pt x="53646" y="53628"/>
                  </a:cubicBezTo>
                  <a:cubicBezTo>
                    <a:pt x="52157" y="49159"/>
                    <a:pt x="49922" y="39103"/>
                    <a:pt x="54391" y="32400"/>
                  </a:cubicBezTo>
                  <a:cubicBezTo>
                    <a:pt x="59977" y="28676"/>
                    <a:pt x="68915" y="27931"/>
                    <a:pt x="81577" y="34634"/>
                  </a:cubicBezTo>
                  <a:cubicBezTo>
                    <a:pt x="82322" y="21228"/>
                    <a:pt x="87536" y="12662"/>
                    <a:pt x="93867" y="9310"/>
                  </a:cubicBezTo>
                  <a:cubicBezTo>
                    <a:pt x="100198" y="8938"/>
                    <a:pt x="106157" y="12662"/>
                    <a:pt x="112115" y="19738"/>
                  </a:cubicBezTo>
                  <a:cubicBezTo>
                    <a:pt x="117701" y="11172"/>
                    <a:pt x="125522" y="4469"/>
                    <a:pt x="134833" y="0"/>
                  </a:cubicBezTo>
                  <a:close/>
                </a:path>
              </a:pathLst>
            </a:custGeom>
            <a:solidFill>
              <a:srgbClr val="FFFFFF"/>
            </a:solidFill>
            <a:ln w="3709" cap="flat">
              <a:noFill/>
              <a:prstDash val="solid"/>
              <a:miter/>
            </a:ln>
          </p:spPr>
          <p:txBody>
            <a:bodyPr wrap="square" rtlCol="0" anchor="ctr">
              <a:noAutofit/>
            </a:bodyPr>
            <a:lstStyle/>
            <a:p>
              <a:endParaRPr lang="sv-SE" sz="1350"/>
            </a:p>
          </p:txBody>
        </p:sp>
      </p:grpSp>
      <p:grpSp>
        <p:nvGrpSpPr>
          <p:cNvPr id="13" name="Folktandvården" hidden="1">
            <a:extLst>
              <a:ext uri="{FF2B5EF4-FFF2-40B4-BE49-F238E27FC236}">
                <a16:creationId xmlns:a16="http://schemas.microsoft.com/office/drawing/2014/main" id="{D04DF698-0A6D-4A7F-B2C9-9906BC474AC2}"/>
              </a:ext>
            </a:extLst>
          </p:cNvPr>
          <p:cNvGrpSpPr/>
          <p:nvPr userDrawn="1"/>
        </p:nvGrpSpPr>
        <p:grpSpPr>
          <a:xfrm>
            <a:off x="7490644" y="4673580"/>
            <a:ext cx="1653356" cy="324970"/>
            <a:chOff x="9987525" y="6231440"/>
            <a:chExt cx="2204474" cy="433293"/>
          </a:xfrm>
        </p:grpSpPr>
        <p:sp>
          <p:nvSpPr>
            <p:cNvPr id="14" name="Rektangel 13">
              <a:extLst>
                <a:ext uri="{FF2B5EF4-FFF2-40B4-BE49-F238E27FC236}">
                  <a16:creationId xmlns:a16="http://schemas.microsoft.com/office/drawing/2014/main" id="{8A30E433-DA9C-4B9A-B5ED-F1A536A24209}"/>
                </a:ext>
              </a:extLst>
            </p:cNvPr>
            <p:cNvSpPr/>
            <p:nvPr userDrawn="1"/>
          </p:nvSpPr>
          <p:spPr>
            <a:xfrm>
              <a:off x="11604170" y="6231440"/>
              <a:ext cx="587829" cy="433117"/>
            </a:xfrm>
            <a:prstGeom prst="rect">
              <a:avLst/>
            </a:prstGeom>
            <a:solidFill>
              <a:srgbClr val="0861CE"/>
            </a:solidFill>
            <a:ln w="3709" cap="flat">
              <a:noFill/>
              <a:prstDash val="solid"/>
              <a:miter/>
            </a:ln>
          </p:spPr>
          <p:txBody>
            <a:bodyPr rtlCol="0" anchor="ctr"/>
            <a:lstStyle/>
            <a:p>
              <a:endParaRPr lang="sv-SE" sz="1350"/>
            </a:p>
          </p:txBody>
        </p:sp>
        <p:sp>
          <p:nvSpPr>
            <p:cNvPr id="15" name="Frihandsfigur: Form 14">
              <a:extLst>
                <a:ext uri="{FF2B5EF4-FFF2-40B4-BE49-F238E27FC236}">
                  <a16:creationId xmlns:a16="http://schemas.microsoft.com/office/drawing/2014/main" id="{A996A937-655D-4627-85F7-9C17B812E8B4}"/>
                </a:ext>
              </a:extLst>
            </p:cNvPr>
            <p:cNvSpPr/>
            <p:nvPr userDrawn="1"/>
          </p:nvSpPr>
          <p:spPr>
            <a:xfrm>
              <a:off x="9987525" y="6231616"/>
              <a:ext cx="1616646" cy="433117"/>
            </a:xfrm>
            <a:custGeom>
              <a:avLst/>
              <a:gdLst>
                <a:gd name="connsiteX0" fmla="*/ 216372 w 1616646"/>
                <a:gd name="connsiteY0" fmla="*/ 0 h 433117"/>
                <a:gd name="connsiteX1" fmla="*/ 1616646 w 1616646"/>
                <a:gd name="connsiteY1" fmla="*/ 0 h 433117"/>
                <a:gd name="connsiteX2" fmla="*/ 1616646 w 1616646"/>
                <a:gd name="connsiteY2" fmla="*/ 0 h 433117"/>
                <a:gd name="connsiteX3" fmla="*/ 1616646 w 1616646"/>
                <a:gd name="connsiteY3" fmla="*/ 433117 h 433117"/>
                <a:gd name="connsiteX4" fmla="*/ 1616646 w 1616646"/>
                <a:gd name="connsiteY4" fmla="*/ 433117 h 433117"/>
                <a:gd name="connsiteX5" fmla="*/ 216372 w 1616646"/>
                <a:gd name="connsiteY5" fmla="*/ 433117 h 433117"/>
                <a:gd name="connsiteX6" fmla="*/ 0 w 1616646"/>
                <a:gd name="connsiteY6" fmla="*/ 216372 h 433117"/>
                <a:gd name="connsiteX7" fmla="*/ 0 w 1616646"/>
                <a:gd name="connsiteY7" fmla="*/ 216372 h 433117"/>
                <a:gd name="connsiteX8" fmla="*/ 0 w 1616646"/>
                <a:gd name="connsiteY8" fmla="*/ 216372 h 433117"/>
                <a:gd name="connsiteX9" fmla="*/ 216372 w 1616646"/>
                <a:gd name="connsiteY9" fmla="*/ 0 h 433117"/>
                <a:gd name="connsiteX10" fmla="*/ 216372 w 1616646"/>
                <a:gd name="connsiteY10" fmla="*/ 0 h 43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646" h="433117">
                  <a:moveTo>
                    <a:pt x="216372" y="0"/>
                  </a:moveTo>
                  <a:lnTo>
                    <a:pt x="1616646" y="0"/>
                  </a:lnTo>
                  <a:lnTo>
                    <a:pt x="1616646" y="0"/>
                  </a:lnTo>
                  <a:lnTo>
                    <a:pt x="1616646" y="433117"/>
                  </a:lnTo>
                  <a:lnTo>
                    <a:pt x="1616646" y="433117"/>
                  </a:lnTo>
                  <a:lnTo>
                    <a:pt x="216372" y="433117"/>
                  </a:lnTo>
                  <a:cubicBezTo>
                    <a:pt x="96827" y="433117"/>
                    <a:pt x="0" y="335917"/>
                    <a:pt x="0" y="216372"/>
                  </a:cubicBezTo>
                  <a:cubicBezTo>
                    <a:pt x="0" y="216372"/>
                    <a:pt x="0" y="216372"/>
                    <a:pt x="0" y="216372"/>
                  </a:cubicBezTo>
                  <a:lnTo>
                    <a:pt x="0" y="216372"/>
                  </a:lnTo>
                  <a:cubicBezTo>
                    <a:pt x="0" y="96828"/>
                    <a:pt x="96827" y="0"/>
                    <a:pt x="216372" y="0"/>
                  </a:cubicBezTo>
                  <a:cubicBezTo>
                    <a:pt x="216372" y="0"/>
                    <a:pt x="216372" y="0"/>
                    <a:pt x="216372" y="0"/>
                  </a:cubicBezTo>
                  <a:close/>
                </a:path>
              </a:pathLst>
            </a:custGeom>
            <a:solidFill>
              <a:srgbClr val="0861CE"/>
            </a:solidFill>
            <a:ln w="3709" cap="flat">
              <a:noFill/>
              <a:prstDash val="solid"/>
              <a:miter/>
            </a:ln>
          </p:spPr>
          <p:txBody>
            <a:bodyPr rtlCol="0" anchor="ctr"/>
            <a:lstStyle/>
            <a:p>
              <a:endParaRPr lang="sv-SE" sz="1350"/>
            </a:p>
          </p:txBody>
        </p:sp>
        <p:pic>
          <p:nvPicPr>
            <p:cNvPr id="16" name="Bild 15">
              <a:extLst>
                <a:ext uri="{FF2B5EF4-FFF2-40B4-BE49-F238E27FC236}">
                  <a16:creationId xmlns:a16="http://schemas.microsoft.com/office/drawing/2014/main" id="{0128A9FA-5EF8-446B-A701-55CA1B4B8C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71462" y="6301064"/>
              <a:ext cx="1832076" cy="305346"/>
            </a:xfrm>
            <a:prstGeom prst="rect">
              <a:avLst/>
            </a:prstGeom>
          </p:spPr>
        </p:pic>
      </p:grpSp>
    </p:spTree>
    <p:extLst>
      <p:ext uri="{BB962C8B-B14F-4D97-AF65-F5344CB8AC3E}">
        <p14:creationId xmlns:p14="http://schemas.microsoft.com/office/powerpoint/2010/main" val="2799484195"/>
      </p:ext>
    </p:extLst>
  </p:cSld>
  <p:clrMapOvr>
    <a:masterClrMapping/>
  </p:clrMapOvr>
  <p:hf hdr="0" ft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ubrikbild (vit)">
    <p:bg>
      <p:bgPr>
        <a:solidFill>
          <a:schemeClr val="bg1"/>
        </a:solidFill>
        <a:effectLst/>
      </p:bgPr>
    </p:bg>
    <p:spTree>
      <p:nvGrpSpPr>
        <p:cNvPr id="1" name=""/>
        <p:cNvGrpSpPr/>
        <p:nvPr/>
      </p:nvGrpSpPr>
      <p:grpSpPr>
        <a:xfrm>
          <a:off x="0" y="0"/>
          <a:ext cx="0" cy="0"/>
          <a:chOff x="0" y="0"/>
          <a:chExt cx="0" cy="0"/>
        </a:xfrm>
      </p:grpSpPr>
      <p:sp>
        <p:nvSpPr>
          <p:cNvPr id="8" name="Bild 6">
            <a:extLst>
              <a:ext uri="{FF2B5EF4-FFF2-40B4-BE49-F238E27FC236}">
                <a16:creationId xmlns:a16="http://schemas.microsoft.com/office/drawing/2014/main" id="{E61FE2F9-2825-4018-AB8F-E0C671E283B9}"/>
              </a:ext>
              <a:ext uri="{C183D7F6-B498-43B3-948B-1728B52AA6E4}">
                <adec:decorative xmlns:adec="http://schemas.microsoft.com/office/drawing/2017/decorative" val="1"/>
              </a:ext>
            </a:extLst>
          </p:cNvPr>
          <p:cNvSpPr/>
          <p:nvPr/>
        </p:nvSpPr>
        <p:spPr>
          <a:xfrm>
            <a:off x="1" y="0"/>
            <a:ext cx="4819283" cy="4862456"/>
          </a:xfrm>
          <a:custGeom>
            <a:avLst/>
            <a:gdLst>
              <a:gd name="connsiteX0" fmla="*/ 1143739 w 6425711"/>
              <a:gd name="connsiteY0" fmla="*/ 1351755 h 6483274"/>
              <a:gd name="connsiteX1" fmla="*/ 0 w 6425711"/>
              <a:gd name="connsiteY1" fmla="*/ 1129129 h 6483274"/>
              <a:gd name="connsiteX2" fmla="*/ 0 w 6425711"/>
              <a:gd name="connsiteY2" fmla="*/ 855021 h 6483274"/>
              <a:gd name="connsiteX3" fmla="*/ 417423 w 6425711"/>
              <a:gd name="connsiteY3" fmla="*/ 936419 h 6483274"/>
              <a:gd name="connsiteX4" fmla="*/ 0 w 6425711"/>
              <a:gd name="connsiteY4" fmla="*/ 460557 h 6483274"/>
              <a:gd name="connsiteX5" fmla="*/ 0 w 6425711"/>
              <a:gd name="connsiteY5" fmla="*/ 52178 h 6483274"/>
              <a:gd name="connsiteX6" fmla="*/ 1143739 w 6425711"/>
              <a:gd name="connsiteY6" fmla="*/ 1351755 h 6483274"/>
              <a:gd name="connsiteX7" fmla="*/ 0 w 6425711"/>
              <a:gd name="connsiteY7" fmla="*/ 2112160 h 6483274"/>
              <a:gd name="connsiteX8" fmla="*/ 0 w 6425711"/>
              <a:gd name="connsiteY8" fmla="*/ 2390442 h 6483274"/>
              <a:gd name="connsiteX9" fmla="*/ 417423 w 6425711"/>
              <a:gd name="connsiteY9" fmla="*/ 2308349 h 6483274"/>
              <a:gd name="connsiteX10" fmla="*/ 0 w 6425711"/>
              <a:gd name="connsiteY10" fmla="*/ 2782820 h 6483274"/>
              <a:gd name="connsiteX11" fmla="*/ 0 w 6425711"/>
              <a:gd name="connsiteY11" fmla="*/ 3191199 h 6483274"/>
              <a:gd name="connsiteX12" fmla="*/ 1143739 w 6425711"/>
              <a:gd name="connsiteY12" fmla="*/ 1891622 h 6483274"/>
              <a:gd name="connsiteX13" fmla="*/ 4140140 w 6425711"/>
              <a:gd name="connsiteY13" fmla="*/ 672747 h 6483274"/>
              <a:gd name="connsiteX14" fmla="*/ 2793951 w 6425711"/>
              <a:gd name="connsiteY14" fmla="*/ 936419 h 6483274"/>
              <a:gd name="connsiteX15" fmla="*/ 3616971 w 6425711"/>
              <a:gd name="connsiteY15" fmla="*/ 0 h 6483274"/>
              <a:gd name="connsiteX16" fmla="*/ 3258682 w 6425711"/>
              <a:gd name="connsiteY16" fmla="*/ 0 h 6483274"/>
              <a:gd name="connsiteX17" fmla="*/ 2069027 w 6425711"/>
              <a:gd name="connsiteY17" fmla="*/ 1351755 h 6483274"/>
              <a:gd name="connsiteX18" fmla="*/ 4193014 w 6425711"/>
              <a:gd name="connsiteY18" fmla="*/ 934332 h 6483274"/>
              <a:gd name="connsiteX19" fmla="*/ 4958290 w 6425711"/>
              <a:gd name="connsiteY19" fmla="*/ 372202 h 6483274"/>
              <a:gd name="connsiteX20" fmla="*/ 5412585 w 6425711"/>
              <a:gd name="connsiteY20" fmla="*/ 0 h 6483274"/>
              <a:gd name="connsiteX21" fmla="*/ 4957594 w 6425711"/>
              <a:gd name="connsiteY21" fmla="*/ 0 h 6483274"/>
              <a:gd name="connsiteX22" fmla="*/ 4140140 w 6425711"/>
              <a:gd name="connsiteY22" fmla="*/ 672747 h 6483274"/>
              <a:gd name="connsiteX23" fmla="*/ 1977194 w 6425711"/>
              <a:gd name="connsiteY23" fmla="*/ 0 h 6483274"/>
              <a:gd name="connsiteX24" fmla="*/ 1692650 w 6425711"/>
              <a:gd name="connsiteY24" fmla="*/ 0 h 6483274"/>
              <a:gd name="connsiteX25" fmla="*/ 1606383 w 6425711"/>
              <a:gd name="connsiteY25" fmla="*/ 252541 h 6483274"/>
              <a:gd name="connsiteX26" fmla="*/ 1519420 w 6425711"/>
              <a:gd name="connsiteY26" fmla="*/ 0 h 6483274"/>
              <a:gd name="connsiteX27" fmla="*/ 1234876 w 6425711"/>
              <a:gd name="connsiteY27" fmla="*/ 0 h 6483274"/>
              <a:gd name="connsiteX28" fmla="*/ 1605687 w 6425711"/>
              <a:gd name="connsiteY28" fmla="*/ 1081821 h 6483274"/>
              <a:gd name="connsiteX29" fmla="*/ 1977194 w 6425711"/>
              <a:gd name="connsiteY29" fmla="*/ 0 h 6483274"/>
              <a:gd name="connsiteX30" fmla="*/ 6425532 w 6425711"/>
              <a:gd name="connsiteY30" fmla="*/ 861978 h 6483274"/>
              <a:gd name="connsiteX31" fmla="*/ 5863402 w 6425711"/>
              <a:gd name="connsiteY31" fmla="*/ 525953 h 6483274"/>
              <a:gd name="connsiteX32" fmla="*/ 6024805 w 6425711"/>
              <a:gd name="connsiteY32" fmla="*/ 0 h 6483274"/>
              <a:gd name="connsiteX33" fmla="*/ 5752785 w 6425711"/>
              <a:gd name="connsiteY33" fmla="*/ 0 h 6483274"/>
              <a:gd name="connsiteX34" fmla="*/ 5370843 w 6425711"/>
              <a:gd name="connsiteY34" fmla="*/ 772928 h 6483274"/>
              <a:gd name="connsiteX35" fmla="*/ 6152120 w 6425711"/>
              <a:gd name="connsiteY35" fmla="*/ 932245 h 6483274"/>
              <a:gd name="connsiteX36" fmla="*/ 5228223 w 6425711"/>
              <a:gd name="connsiteY36" fmla="*/ 1620993 h 6483274"/>
              <a:gd name="connsiteX37" fmla="*/ 6152120 w 6425711"/>
              <a:gd name="connsiteY37" fmla="*/ 2309741 h 6483274"/>
              <a:gd name="connsiteX38" fmla="*/ 5370843 w 6425711"/>
              <a:gd name="connsiteY38" fmla="*/ 2469057 h 6483274"/>
              <a:gd name="connsiteX39" fmla="*/ 5764612 w 6425711"/>
              <a:gd name="connsiteY39" fmla="*/ 3367908 h 6483274"/>
              <a:gd name="connsiteX40" fmla="*/ 4957594 w 6425711"/>
              <a:gd name="connsiteY40" fmla="*/ 2867696 h 6483274"/>
              <a:gd name="connsiteX41" fmla="*/ 4192318 w 6425711"/>
              <a:gd name="connsiteY41" fmla="*/ 2304871 h 6483274"/>
              <a:gd name="connsiteX42" fmla="*/ 2068331 w 6425711"/>
              <a:gd name="connsiteY42" fmla="*/ 1887448 h 6483274"/>
              <a:gd name="connsiteX43" fmla="*/ 3487569 w 6425711"/>
              <a:gd name="connsiteY43" fmla="*/ 3501483 h 6483274"/>
              <a:gd name="connsiteX44" fmla="*/ 4348852 w 6425711"/>
              <a:gd name="connsiteY44" fmla="*/ 3874381 h 6483274"/>
              <a:gd name="connsiteX45" fmla="*/ 5205265 w 6425711"/>
              <a:gd name="connsiteY45" fmla="*/ 4337025 h 6483274"/>
              <a:gd name="connsiteX46" fmla="*/ 4236844 w 6425711"/>
              <a:gd name="connsiteY46" fmla="*/ 4436511 h 6483274"/>
              <a:gd name="connsiteX47" fmla="*/ 4495646 w 6425711"/>
              <a:gd name="connsiteY47" fmla="*/ 5196916 h 6483274"/>
              <a:gd name="connsiteX48" fmla="*/ 3442348 w 6425711"/>
              <a:gd name="connsiteY48" fmla="*/ 4766970 h 6483274"/>
              <a:gd name="connsiteX49" fmla="*/ 3289989 w 6425711"/>
              <a:gd name="connsiteY49" fmla="*/ 5899578 h 6483274"/>
              <a:gd name="connsiteX50" fmla="*/ 2752209 w 6425711"/>
              <a:gd name="connsiteY50" fmla="*/ 5287358 h 6483274"/>
              <a:gd name="connsiteX51" fmla="*/ 2173383 w 6425711"/>
              <a:gd name="connsiteY51" fmla="*/ 6088810 h 6483274"/>
              <a:gd name="connsiteX52" fmla="*/ 2198428 w 6425711"/>
              <a:gd name="connsiteY52" fmla="*/ 5114823 h 6483274"/>
              <a:gd name="connsiteX53" fmla="*/ 2300001 w 6425711"/>
              <a:gd name="connsiteY53" fmla="*/ 4190927 h 6483274"/>
              <a:gd name="connsiteX54" fmla="*/ 1604296 w 6425711"/>
              <a:gd name="connsiteY54" fmla="*/ 2162251 h 6483274"/>
              <a:gd name="connsiteX55" fmla="*/ 908591 w 6425711"/>
              <a:gd name="connsiteY55" fmla="*/ 4190927 h 6483274"/>
              <a:gd name="connsiteX56" fmla="*/ 1010859 w 6425711"/>
              <a:gd name="connsiteY56" fmla="*/ 5115519 h 6483274"/>
              <a:gd name="connsiteX57" fmla="*/ 1035209 w 6425711"/>
              <a:gd name="connsiteY57" fmla="*/ 6089506 h 6483274"/>
              <a:gd name="connsiteX58" fmla="*/ 460557 w 6425711"/>
              <a:gd name="connsiteY58" fmla="*/ 5287358 h 6483274"/>
              <a:gd name="connsiteX59" fmla="*/ 0 w 6425711"/>
              <a:gd name="connsiteY59" fmla="*/ 5873141 h 6483274"/>
              <a:gd name="connsiteX60" fmla="*/ 0 w 6425711"/>
              <a:gd name="connsiteY60" fmla="*/ 6159772 h 6483274"/>
              <a:gd name="connsiteX61" fmla="*/ 427163 w 6425711"/>
              <a:gd name="connsiteY61" fmla="*/ 5840443 h 6483274"/>
              <a:gd name="connsiteX62" fmla="*/ 1168784 w 6425711"/>
              <a:gd name="connsiteY62" fmla="*/ 6483275 h 6483274"/>
              <a:gd name="connsiteX63" fmla="*/ 1168784 w 6425711"/>
              <a:gd name="connsiteY63" fmla="*/ 4275107 h 6483274"/>
              <a:gd name="connsiteX64" fmla="*/ 1607079 w 6425711"/>
              <a:gd name="connsiteY64" fmla="*/ 2989444 h 6483274"/>
              <a:gd name="connsiteX65" fmla="*/ 2045373 w 6425711"/>
              <a:gd name="connsiteY65" fmla="*/ 4275107 h 6483274"/>
              <a:gd name="connsiteX66" fmla="*/ 2045373 w 6425711"/>
              <a:gd name="connsiteY66" fmla="*/ 6483275 h 6483274"/>
              <a:gd name="connsiteX67" fmla="*/ 2782820 w 6425711"/>
              <a:gd name="connsiteY67" fmla="*/ 5843922 h 6483274"/>
              <a:gd name="connsiteX68" fmla="*/ 3363038 w 6425711"/>
              <a:gd name="connsiteY68" fmla="*/ 6178556 h 6483274"/>
              <a:gd name="connsiteX69" fmla="*/ 3772113 w 6425711"/>
              <a:gd name="connsiteY69" fmla="*/ 5349276 h 6483274"/>
              <a:gd name="connsiteX70" fmla="*/ 4691835 w 6425711"/>
              <a:gd name="connsiteY70" fmla="*/ 5404236 h 6483274"/>
              <a:gd name="connsiteX71" fmla="*/ 4691835 w 6425711"/>
              <a:gd name="connsiteY71" fmla="*/ 4748187 h 6483274"/>
              <a:gd name="connsiteX72" fmla="*/ 5603904 w 6425711"/>
              <a:gd name="connsiteY72" fmla="*/ 4428162 h 6483274"/>
              <a:gd name="connsiteX73" fmla="*/ 3685845 w 6425711"/>
              <a:gd name="connsiteY73" fmla="*/ 3330340 h 6483274"/>
              <a:gd name="connsiteX74" fmla="*/ 2793951 w 6425711"/>
              <a:gd name="connsiteY74" fmla="*/ 2304871 h 6483274"/>
              <a:gd name="connsiteX75" fmla="*/ 4140140 w 6425711"/>
              <a:gd name="connsiteY75" fmla="*/ 2569239 h 6483274"/>
              <a:gd name="connsiteX76" fmla="*/ 6037328 w 6425711"/>
              <a:gd name="connsiteY76" fmla="*/ 3680279 h 6483274"/>
              <a:gd name="connsiteX77" fmla="*/ 5863402 w 6425711"/>
              <a:gd name="connsiteY77" fmla="*/ 2715336 h 6483274"/>
              <a:gd name="connsiteX78" fmla="*/ 6425532 w 6425711"/>
              <a:gd name="connsiteY78" fmla="*/ 2380007 h 6483274"/>
              <a:gd name="connsiteX79" fmla="*/ 5892621 w 6425711"/>
              <a:gd name="connsiteY79" fmla="*/ 1620993 h 6483274"/>
              <a:gd name="connsiteX80" fmla="*/ 6425532 w 6425711"/>
              <a:gd name="connsiteY80" fmla="*/ 861978 h 648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6425711" h="6483274">
                <a:moveTo>
                  <a:pt x="1143739" y="1351755"/>
                </a:moveTo>
                <a:lnTo>
                  <a:pt x="0" y="1129129"/>
                </a:lnTo>
                <a:lnTo>
                  <a:pt x="0" y="855021"/>
                </a:lnTo>
                <a:lnTo>
                  <a:pt x="417423" y="936419"/>
                </a:lnTo>
                <a:lnTo>
                  <a:pt x="0" y="460557"/>
                </a:lnTo>
                <a:lnTo>
                  <a:pt x="0" y="52178"/>
                </a:lnTo>
                <a:cubicBezTo>
                  <a:pt x="461948" y="578131"/>
                  <a:pt x="1107562" y="1310708"/>
                  <a:pt x="1143739" y="1351755"/>
                </a:cubicBezTo>
                <a:close/>
                <a:moveTo>
                  <a:pt x="0" y="2112160"/>
                </a:moveTo>
                <a:lnTo>
                  <a:pt x="0" y="2390442"/>
                </a:lnTo>
                <a:lnTo>
                  <a:pt x="417423" y="2308349"/>
                </a:lnTo>
                <a:lnTo>
                  <a:pt x="0" y="2782820"/>
                </a:lnTo>
                <a:lnTo>
                  <a:pt x="0" y="3191199"/>
                </a:lnTo>
                <a:cubicBezTo>
                  <a:pt x="461948" y="2665246"/>
                  <a:pt x="1107562" y="1932668"/>
                  <a:pt x="1143739" y="1891622"/>
                </a:cubicBezTo>
                <a:close/>
                <a:moveTo>
                  <a:pt x="4140140" y="672747"/>
                </a:moveTo>
                <a:cubicBezTo>
                  <a:pt x="3758199" y="749274"/>
                  <a:pt x="3147370" y="868240"/>
                  <a:pt x="2793951" y="936419"/>
                </a:cubicBezTo>
                <a:cubicBezTo>
                  <a:pt x="2957442" y="750666"/>
                  <a:pt x="3350515" y="310284"/>
                  <a:pt x="3616971" y="0"/>
                </a:cubicBezTo>
                <a:lnTo>
                  <a:pt x="3258682" y="0"/>
                </a:lnTo>
                <a:cubicBezTo>
                  <a:pt x="2794647" y="528736"/>
                  <a:pt x="2106595" y="1309317"/>
                  <a:pt x="2069027" y="1351755"/>
                </a:cubicBezTo>
                <a:cubicBezTo>
                  <a:pt x="2138597" y="1338536"/>
                  <a:pt x="3574532" y="1060254"/>
                  <a:pt x="4193014" y="934332"/>
                </a:cubicBezTo>
                <a:cubicBezTo>
                  <a:pt x="4505386" y="871718"/>
                  <a:pt x="4734968" y="617786"/>
                  <a:pt x="4958290" y="372202"/>
                </a:cubicBezTo>
                <a:cubicBezTo>
                  <a:pt x="5079895" y="215638"/>
                  <a:pt x="5235159" y="88431"/>
                  <a:pt x="5412585" y="0"/>
                </a:cubicBezTo>
                <a:lnTo>
                  <a:pt x="4957594" y="0"/>
                </a:lnTo>
                <a:cubicBezTo>
                  <a:pt x="4720359" y="230278"/>
                  <a:pt x="4542258" y="498820"/>
                  <a:pt x="4140140" y="672747"/>
                </a:cubicBezTo>
                <a:close/>
                <a:moveTo>
                  <a:pt x="1977194" y="0"/>
                </a:moveTo>
                <a:lnTo>
                  <a:pt x="1692650" y="0"/>
                </a:lnTo>
                <a:lnTo>
                  <a:pt x="1606383" y="252541"/>
                </a:lnTo>
                <a:cubicBezTo>
                  <a:pt x="1580642" y="178796"/>
                  <a:pt x="1551422" y="92529"/>
                  <a:pt x="1519420" y="0"/>
                </a:cubicBezTo>
                <a:lnTo>
                  <a:pt x="1234876" y="0"/>
                </a:lnTo>
                <a:lnTo>
                  <a:pt x="1605687" y="1081821"/>
                </a:lnTo>
                <a:cubicBezTo>
                  <a:pt x="1618906" y="1043557"/>
                  <a:pt x="1794919" y="531519"/>
                  <a:pt x="1977194" y="0"/>
                </a:cubicBezTo>
                <a:close/>
                <a:moveTo>
                  <a:pt x="6425532" y="861978"/>
                </a:moveTo>
                <a:cubicBezTo>
                  <a:pt x="6326046" y="647006"/>
                  <a:pt x="6067939" y="556564"/>
                  <a:pt x="5863402" y="525953"/>
                </a:cubicBezTo>
                <a:cubicBezTo>
                  <a:pt x="5939486" y="358264"/>
                  <a:pt x="5993730" y="181502"/>
                  <a:pt x="6024805" y="0"/>
                </a:cubicBezTo>
                <a:lnTo>
                  <a:pt x="5752785" y="0"/>
                </a:lnTo>
                <a:cubicBezTo>
                  <a:pt x="5692989" y="285833"/>
                  <a:pt x="5561565" y="551792"/>
                  <a:pt x="5370843" y="772928"/>
                </a:cubicBezTo>
                <a:cubicBezTo>
                  <a:pt x="5603904" y="764580"/>
                  <a:pt x="6042894" y="784755"/>
                  <a:pt x="6152120" y="932245"/>
                </a:cubicBezTo>
                <a:cubicBezTo>
                  <a:pt x="6142380" y="1177829"/>
                  <a:pt x="5608774" y="1513854"/>
                  <a:pt x="5228223" y="1620993"/>
                </a:cubicBezTo>
                <a:cubicBezTo>
                  <a:pt x="5608774" y="1727435"/>
                  <a:pt x="6143076" y="2064852"/>
                  <a:pt x="6152120" y="2309741"/>
                </a:cubicBezTo>
                <a:cubicBezTo>
                  <a:pt x="6043590" y="2457230"/>
                  <a:pt x="5603208" y="2476710"/>
                  <a:pt x="5370843" y="2469057"/>
                </a:cubicBezTo>
                <a:cubicBezTo>
                  <a:pt x="5586512" y="2696552"/>
                  <a:pt x="5768786" y="3132759"/>
                  <a:pt x="5764612" y="3367908"/>
                </a:cubicBezTo>
                <a:cubicBezTo>
                  <a:pt x="5445830" y="3299573"/>
                  <a:pt x="5160617" y="3122790"/>
                  <a:pt x="4957594" y="2867696"/>
                </a:cubicBezTo>
                <a:cubicBezTo>
                  <a:pt x="4734968" y="2622112"/>
                  <a:pt x="4505386" y="2367484"/>
                  <a:pt x="4192318" y="2304871"/>
                </a:cubicBezTo>
                <a:cubicBezTo>
                  <a:pt x="3573837" y="2181731"/>
                  <a:pt x="2135815" y="1903449"/>
                  <a:pt x="2068331" y="1887448"/>
                </a:cubicBezTo>
                <a:cubicBezTo>
                  <a:pt x="2112856" y="1937538"/>
                  <a:pt x="3072929" y="3026317"/>
                  <a:pt x="3487569" y="3501483"/>
                </a:cubicBezTo>
                <a:cubicBezTo>
                  <a:pt x="3696281" y="3736631"/>
                  <a:pt x="4026045" y="3806898"/>
                  <a:pt x="4348852" y="3874381"/>
                </a:cubicBezTo>
                <a:cubicBezTo>
                  <a:pt x="4667485" y="3898731"/>
                  <a:pt x="5057775" y="4138053"/>
                  <a:pt x="5205265" y="4337025"/>
                </a:cubicBezTo>
                <a:cubicBezTo>
                  <a:pt x="5006989" y="4453903"/>
                  <a:pt x="4538084" y="4508864"/>
                  <a:pt x="4236844" y="4436511"/>
                </a:cubicBezTo>
                <a:cubicBezTo>
                  <a:pt x="4359983" y="4635482"/>
                  <a:pt x="4567304" y="5034817"/>
                  <a:pt x="4495646" y="5196916"/>
                </a:cubicBezTo>
                <a:cubicBezTo>
                  <a:pt x="4261193" y="5318664"/>
                  <a:pt x="3742893" y="5062645"/>
                  <a:pt x="3442348" y="4766970"/>
                </a:cubicBezTo>
                <a:cubicBezTo>
                  <a:pt x="3547400" y="5174653"/>
                  <a:pt x="3507049" y="5761133"/>
                  <a:pt x="3289989" y="5899578"/>
                </a:cubicBezTo>
                <a:cubicBezTo>
                  <a:pt x="3108410" y="5878011"/>
                  <a:pt x="2863522" y="5496069"/>
                  <a:pt x="2752209" y="5287358"/>
                </a:cubicBezTo>
                <a:cubicBezTo>
                  <a:pt x="2663159" y="5589294"/>
                  <a:pt x="2378615" y="5970540"/>
                  <a:pt x="2173383" y="6088810"/>
                </a:cubicBezTo>
                <a:cubicBezTo>
                  <a:pt x="2077375" y="5859923"/>
                  <a:pt x="2061374" y="5402845"/>
                  <a:pt x="2198428" y="5114823"/>
                </a:cubicBezTo>
                <a:cubicBezTo>
                  <a:pt x="2297914" y="4807321"/>
                  <a:pt x="2400878" y="4488688"/>
                  <a:pt x="2300001" y="4190927"/>
                </a:cubicBezTo>
                <a:cubicBezTo>
                  <a:pt x="2097551" y="3590533"/>
                  <a:pt x="1627950" y="2226256"/>
                  <a:pt x="1604296" y="2162251"/>
                </a:cubicBezTo>
                <a:cubicBezTo>
                  <a:pt x="1582729" y="2226256"/>
                  <a:pt x="1117302" y="3591229"/>
                  <a:pt x="908591" y="4190927"/>
                </a:cubicBezTo>
                <a:cubicBezTo>
                  <a:pt x="808409" y="4489384"/>
                  <a:pt x="908591" y="4807321"/>
                  <a:pt x="1010859" y="5115519"/>
                </a:cubicBezTo>
                <a:cubicBezTo>
                  <a:pt x="1150000" y="5408410"/>
                  <a:pt x="1131216" y="5859923"/>
                  <a:pt x="1035209" y="6089506"/>
                </a:cubicBezTo>
                <a:cubicBezTo>
                  <a:pt x="834846" y="5969844"/>
                  <a:pt x="549607" y="5588598"/>
                  <a:pt x="460557" y="5287358"/>
                </a:cubicBezTo>
                <a:cubicBezTo>
                  <a:pt x="364549" y="5468241"/>
                  <a:pt x="169056" y="5774351"/>
                  <a:pt x="0" y="5873141"/>
                </a:cubicBezTo>
                <a:lnTo>
                  <a:pt x="0" y="6159772"/>
                </a:lnTo>
                <a:cubicBezTo>
                  <a:pt x="182275" y="6108985"/>
                  <a:pt x="340200" y="5951060"/>
                  <a:pt x="427163" y="5840443"/>
                </a:cubicBezTo>
                <a:cubicBezTo>
                  <a:pt x="775015" y="6311436"/>
                  <a:pt x="973987" y="6360135"/>
                  <a:pt x="1168784" y="6483275"/>
                </a:cubicBezTo>
                <a:cubicBezTo>
                  <a:pt x="1715609" y="5412585"/>
                  <a:pt x="1077647" y="5146130"/>
                  <a:pt x="1168784" y="4275107"/>
                </a:cubicBezTo>
                <a:cubicBezTo>
                  <a:pt x="1284967" y="3927255"/>
                  <a:pt x="1468633" y="3392257"/>
                  <a:pt x="1607079" y="2989444"/>
                </a:cubicBezTo>
                <a:cubicBezTo>
                  <a:pt x="1723261" y="3327557"/>
                  <a:pt x="1922929" y="3911253"/>
                  <a:pt x="2045373" y="4275107"/>
                </a:cubicBezTo>
                <a:cubicBezTo>
                  <a:pt x="2133032" y="5139173"/>
                  <a:pt x="1500636" y="5432760"/>
                  <a:pt x="2045373" y="6483275"/>
                </a:cubicBezTo>
                <a:cubicBezTo>
                  <a:pt x="2238083" y="6360831"/>
                  <a:pt x="2434968" y="6310740"/>
                  <a:pt x="2782820" y="5843922"/>
                </a:cubicBezTo>
                <a:cubicBezTo>
                  <a:pt x="2893437" y="5983063"/>
                  <a:pt x="3119541" y="6202906"/>
                  <a:pt x="3363038" y="6178556"/>
                </a:cubicBezTo>
                <a:cubicBezTo>
                  <a:pt x="3571750" y="6063765"/>
                  <a:pt x="3751937" y="5785483"/>
                  <a:pt x="3772113" y="5349276"/>
                </a:cubicBezTo>
                <a:cubicBezTo>
                  <a:pt x="4156838" y="5548247"/>
                  <a:pt x="4487297" y="5530159"/>
                  <a:pt x="4691835" y="5404236"/>
                </a:cubicBezTo>
                <a:cubicBezTo>
                  <a:pt x="4826106" y="5212222"/>
                  <a:pt x="4771841" y="4942984"/>
                  <a:pt x="4691835" y="4748187"/>
                </a:cubicBezTo>
                <a:cubicBezTo>
                  <a:pt x="5266487" y="4678616"/>
                  <a:pt x="5404237" y="4535301"/>
                  <a:pt x="5603904" y="4428162"/>
                </a:cubicBezTo>
                <a:cubicBezTo>
                  <a:pt x="4964551" y="3420086"/>
                  <a:pt x="4388508" y="3838900"/>
                  <a:pt x="3685845" y="3330340"/>
                </a:cubicBezTo>
                <a:cubicBezTo>
                  <a:pt x="3439566" y="3038839"/>
                  <a:pt x="3031187" y="2574108"/>
                  <a:pt x="2793951" y="2304871"/>
                </a:cubicBezTo>
                <a:cubicBezTo>
                  <a:pt x="3150848" y="2374441"/>
                  <a:pt x="3767938" y="2494102"/>
                  <a:pt x="4140140" y="2569239"/>
                </a:cubicBezTo>
                <a:cubicBezTo>
                  <a:pt x="4918634" y="2905960"/>
                  <a:pt x="4873414" y="3617666"/>
                  <a:pt x="6037328" y="3680279"/>
                </a:cubicBezTo>
                <a:cubicBezTo>
                  <a:pt x="6032458" y="3452784"/>
                  <a:pt x="6092289" y="3253116"/>
                  <a:pt x="5863402" y="2715336"/>
                </a:cubicBezTo>
                <a:cubicBezTo>
                  <a:pt x="6067939" y="2684726"/>
                  <a:pt x="6326046" y="2594980"/>
                  <a:pt x="6425532" y="2380007"/>
                </a:cubicBezTo>
                <a:cubicBezTo>
                  <a:pt x="6431793" y="2146946"/>
                  <a:pt x="6274564" y="1861707"/>
                  <a:pt x="5892621" y="1620993"/>
                </a:cubicBezTo>
                <a:cubicBezTo>
                  <a:pt x="6275259" y="1380279"/>
                  <a:pt x="6431793" y="1095040"/>
                  <a:pt x="6425532" y="861978"/>
                </a:cubicBezTo>
                <a:close/>
              </a:path>
            </a:pathLst>
          </a:custGeom>
          <a:solidFill>
            <a:srgbClr val="0861CE">
              <a:alpha val="4706"/>
            </a:srgbClr>
          </a:solidFill>
          <a:ln w="69470" cap="flat">
            <a:noFill/>
            <a:prstDash val="solid"/>
            <a:miter/>
          </a:ln>
        </p:spPr>
        <p:txBody>
          <a:bodyPr rtlCol="0" anchor="ctr"/>
          <a:lstStyle/>
          <a:p>
            <a:endParaRPr lang="sv-SE" sz="1350" dirty="0"/>
          </a:p>
        </p:txBody>
      </p:sp>
      <p:sp>
        <p:nvSpPr>
          <p:cNvPr id="2" name="Rubrik 1">
            <a:extLst>
              <a:ext uri="{FF2B5EF4-FFF2-40B4-BE49-F238E27FC236}">
                <a16:creationId xmlns:a16="http://schemas.microsoft.com/office/drawing/2014/main" id="{238D417C-D98B-42D1-8332-541A31DFF270}"/>
              </a:ext>
            </a:extLst>
          </p:cNvPr>
          <p:cNvSpPr>
            <a:spLocks noGrp="1"/>
          </p:cNvSpPr>
          <p:nvPr>
            <p:ph type="ctrTitle" hasCustomPrompt="1"/>
          </p:nvPr>
        </p:nvSpPr>
        <p:spPr>
          <a:xfrm>
            <a:off x="810000" y="895031"/>
            <a:ext cx="6805238" cy="1084612"/>
          </a:xfrm>
        </p:spPr>
        <p:txBody>
          <a:bodyPr anchor="b"/>
          <a:lstStyle>
            <a:lvl1pPr algn="l">
              <a:defRPr sz="3000">
                <a:solidFill>
                  <a:schemeClr val="accent3"/>
                </a:solidFill>
              </a:defRPr>
            </a:lvl1pPr>
          </a:lstStyle>
          <a:p>
            <a:r>
              <a:rPr lang="sv-SE" dirty="0"/>
              <a:t>Klicka och skriv titel</a:t>
            </a:r>
          </a:p>
        </p:txBody>
      </p:sp>
      <p:sp>
        <p:nvSpPr>
          <p:cNvPr id="3" name="Underrubrik 2">
            <a:extLst>
              <a:ext uri="{FF2B5EF4-FFF2-40B4-BE49-F238E27FC236}">
                <a16:creationId xmlns:a16="http://schemas.microsoft.com/office/drawing/2014/main" id="{D716B026-314C-4514-80D8-702DADFD4090}"/>
              </a:ext>
            </a:extLst>
          </p:cNvPr>
          <p:cNvSpPr>
            <a:spLocks noGrp="1"/>
          </p:cNvSpPr>
          <p:nvPr>
            <p:ph type="subTitle" idx="1" hasCustomPrompt="1"/>
          </p:nvPr>
        </p:nvSpPr>
        <p:spPr>
          <a:xfrm>
            <a:off x="810000" y="2127829"/>
            <a:ext cx="6805238" cy="635153"/>
          </a:xfrm>
        </p:spPr>
        <p:txBody>
          <a:bodyPr/>
          <a:lstStyle>
            <a:lvl1pPr marL="0" indent="0" algn="l">
              <a:lnSpc>
                <a:spcPct val="100000"/>
              </a:lnSpc>
              <a:spcBef>
                <a:spcPts val="0"/>
              </a:spcBef>
              <a:buNone/>
              <a:defRPr sz="1800">
                <a:solidFill>
                  <a:schemeClr val="accent6"/>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dirty="0"/>
              <a:t>Klicka och skriv underrubrik eller namn på presentatör</a:t>
            </a:r>
          </a:p>
        </p:txBody>
      </p:sp>
      <p:sp>
        <p:nvSpPr>
          <p:cNvPr id="6" name="Datum för presentation">
            <a:extLst>
              <a:ext uri="{FF2B5EF4-FFF2-40B4-BE49-F238E27FC236}">
                <a16:creationId xmlns:a16="http://schemas.microsoft.com/office/drawing/2014/main" id="{77D137F8-D0E5-4846-93B8-A45B22BBE52B}"/>
              </a:ext>
            </a:extLst>
          </p:cNvPr>
          <p:cNvSpPr>
            <a:spLocks noGrp="1"/>
          </p:cNvSpPr>
          <p:nvPr>
            <p:ph type="body" sz="quarter" idx="10" hasCustomPrompt="1"/>
          </p:nvPr>
        </p:nvSpPr>
        <p:spPr>
          <a:xfrm>
            <a:off x="222337" y="4734028"/>
            <a:ext cx="1854863" cy="216000"/>
          </a:xfrm>
        </p:spPr>
        <p:txBody>
          <a:bodyPr anchor="b" anchorCtr="0">
            <a:normAutofit/>
          </a:bodyPr>
          <a:lstStyle>
            <a:lvl1pPr marL="0" indent="0">
              <a:buNone/>
              <a:defRPr sz="1050">
                <a:solidFill>
                  <a:schemeClr val="tx1"/>
                </a:solidFill>
                <a:latin typeface="+mj-lt"/>
              </a:defRPr>
            </a:lvl1pPr>
            <a:lvl2pPr marL="176138" indent="0">
              <a:buNone/>
              <a:defRPr/>
            </a:lvl2pPr>
            <a:lvl3pPr marL="377354" indent="0">
              <a:buNone/>
              <a:defRPr/>
            </a:lvl3pPr>
            <a:lvl4pPr marL="567000" indent="0">
              <a:buNone/>
              <a:defRPr/>
            </a:lvl4pPr>
            <a:lvl5pPr marL="779785" indent="0">
              <a:buNone/>
              <a:defRPr/>
            </a:lvl5pPr>
          </a:lstStyle>
          <a:p>
            <a:pPr lvl="0"/>
            <a:r>
              <a:rPr lang="sv-SE" dirty="0"/>
              <a:t>Klicka och skriv datum</a:t>
            </a:r>
          </a:p>
        </p:txBody>
      </p:sp>
    </p:spTree>
    <p:extLst>
      <p:ext uri="{BB962C8B-B14F-4D97-AF65-F5344CB8AC3E}">
        <p14:creationId xmlns:p14="http://schemas.microsoft.com/office/powerpoint/2010/main" val="26505176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Rubrikbild m foto vänster">
    <p:bg>
      <p:bgPr>
        <a:solidFill>
          <a:schemeClr val="bg1"/>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1AC4039-3B29-4214-ACC9-36F0FC2AB255}"/>
              </a:ext>
              <a:ext uri="{C183D7F6-B498-43B3-948B-1728B52AA6E4}">
                <adec:decorative xmlns:adec="http://schemas.microsoft.com/office/drawing/2017/decorative" val="1"/>
              </a:ext>
            </a:extLst>
          </p:cNvPr>
          <p:cNvSpPr/>
          <p:nvPr userDrawn="1"/>
        </p:nvSpPr>
        <p:spPr>
          <a:xfrm>
            <a:off x="5476240" y="-821"/>
            <a:ext cx="366776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2" name="Rubrik 1">
            <a:extLst>
              <a:ext uri="{FF2B5EF4-FFF2-40B4-BE49-F238E27FC236}">
                <a16:creationId xmlns:a16="http://schemas.microsoft.com/office/drawing/2014/main" id="{238D417C-D98B-42D1-8332-541A31DFF270}"/>
              </a:ext>
            </a:extLst>
          </p:cNvPr>
          <p:cNvSpPr>
            <a:spLocks noGrp="1"/>
          </p:cNvSpPr>
          <p:nvPr>
            <p:ph type="ctrTitle" hasCustomPrompt="1"/>
          </p:nvPr>
        </p:nvSpPr>
        <p:spPr>
          <a:xfrm>
            <a:off x="5877271" y="274320"/>
            <a:ext cx="2857760" cy="1341120"/>
          </a:xfrm>
        </p:spPr>
        <p:txBody>
          <a:bodyPr anchor="b"/>
          <a:lstStyle>
            <a:lvl1pPr algn="l">
              <a:defRPr sz="3000">
                <a:solidFill>
                  <a:schemeClr val="bg1"/>
                </a:solidFill>
              </a:defRPr>
            </a:lvl1pPr>
          </a:lstStyle>
          <a:p>
            <a:r>
              <a:rPr lang="sv-SE" dirty="0"/>
              <a:t>Klicka och skriv titel</a:t>
            </a:r>
          </a:p>
        </p:txBody>
      </p:sp>
      <p:sp>
        <p:nvSpPr>
          <p:cNvPr id="3" name="Underrubrik 2">
            <a:extLst>
              <a:ext uri="{FF2B5EF4-FFF2-40B4-BE49-F238E27FC236}">
                <a16:creationId xmlns:a16="http://schemas.microsoft.com/office/drawing/2014/main" id="{D716B026-314C-4514-80D8-702DADFD4090}"/>
              </a:ext>
            </a:extLst>
          </p:cNvPr>
          <p:cNvSpPr>
            <a:spLocks noGrp="1"/>
          </p:cNvSpPr>
          <p:nvPr>
            <p:ph type="subTitle" idx="1" hasCustomPrompt="1"/>
          </p:nvPr>
        </p:nvSpPr>
        <p:spPr>
          <a:xfrm>
            <a:off x="5877271" y="1783080"/>
            <a:ext cx="2857760" cy="1341121"/>
          </a:xfrm>
        </p:spPr>
        <p:txBody>
          <a:bodyPr/>
          <a:lstStyle>
            <a:lvl1pPr marL="0" indent="0" algn="l">
              <a:lnSpc>
                <a:spcPct val="100000"/>
              </a:lnSpc>
              <a:spcBef>
                <a:spcPts val="0"/>
              </a:spcBef>
              <a:buNone/>
              <a:defRPr sz="165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dirty="0"/>
              <a:t>Klicka och skriv underrubrik eller namn på presentatör</a:t>
            </a:r>
          </a:p>
        </p:txBody>
      </p:sp>
      <p:sp>
        <p:nvSpPr>
          <p:cNvPr id="12" name="Datum för presentation">
            <a:extLst>
              <a:ext uri="{FF2B5EF4-FFF2-40B4-BE49-F238E27FC236}">
                <a16:creationId xmlns:a16="http://schemas.microsoft.com/office/drawing/2014/main" id="{436EEB44-D9ED-4CD6-B497-E7521393A272}"/>
              </a:ext>
            </a:extLst>
          </p:cNvPr>
          <p:cNvSpPr>
            <a:spLocks noGrp="1"/>
          </p:cNvSpPr>
          <p:nvPr>
            <p:ph type="body" sz="quarter" idx="10" hasCustomPrompt="1"/>
          </p:nvPr>
        </p:nvSpPr>
        <p:spPr>
          <a:xfrm>
            <a:off x="5703278" y="4733258"/>
            <a:ext cx="1659276" cy="216000"/>
          </a:xfrm>
        </p:spPr>
        <p:txBody>
          <a:bodyPr anchor="b" anchorCtr="0">
            <a:normAutofit/>
          </a:bodyPr>
          <a:lstStyle>
            <a:lvl1pPr marL="0" indent="0" algn="l">
              <a:buNone/>
              <a:defRPr sz="1050">
                <a:solidFill>
                  <a:schemeClr val="bg1"/>
                </a:solidFill>
                <a:latin typeface="+mj-lt"/>
              </a:defRPr>
            </a:lvl1pPr>
            <a:lvl2pPr marL="176138" indent="0">
              <a:buNone/>
              <a:defRPr/>
            </a:lvl2pPr>
            <a:lvl3pPr marL="377354" indent="0">
              <a:buNone/>
              <a:defRPr/>
            </a:lvl3pPr>
            <a:lvl4pPr marL="567000" indent="0">
              <a:buNone/>
              <a:defRPr/>
            </a:lvl4pPr>
            <a:lvl5pPr marL="779785" indent="0">
              <a:buNone/>
              <a:defRPr/>
            </a:lvl5pPr>
          </a:lstStyle>
          <a:p>
            <a:pPr lvl="0"/>
            <a:r>
              <a:rPr lang="sv-SE" dirty="0"/>
              <a:t>Klicka och skriv datum</a:t>
            </a:r>
          </a:p>
        </p:txBody>
      </p:sp>
      <p:sp>
        <p:nvSpPr>
          <p:cNvPr id="10" name="Platshållare för bild 9">
            <a:extLst>
              <a:ext uri="{FF2B5EF4-FFF2-40B4-BE49-F238E27FC236}">
                <a16:creationId xmlns:a16="http://schemas.microsoft.com/office/drawing/2014/main" id="{CDF3493E-518E-45EF-A49B-F82F3FA4C1DD}"/>
              </a:ext>
              <a:ext uri="{C183D7F6-B498-43B3-948B-1728B52AA6E4}">
                <adec:decorative xmlns:adec="http://schemas.microsoft.com/office/drawing/2017/decorative" val="1"/>
              </a:ext>
            </a:extLst>
          </p:cNvPr>
          <p:cNvSpPr>
            <a:spLocks noGrp="1"/>
          </p:cNvSpPr>
          <p:nvPr>
            <p:ph type="pic" sz="quarter" idx="11" hasCustomPrompt="1"/>
          </p:nvPr>
        </p:nvSpPr>
        <p:spPr>
          <a:xfrm>
            <a:off x="0" y="0"/>
            <a:ext cx="5476240" cy="5143500"/>
          </a:xfrm>
          <a:solidFill>
            <a:schemeClr val="accent2"/>
          </a:solidFill>
        </p:spPr>
        <p:txBody>
          <a:bodyPr anchor="ctr" anchorCtr="0"/>
          <a:lstStyle>
            <a:lvl1pPr marL="0" indent="0" algn="ctr">
              <a:buNone/>
              <a:defRPr/>
            </a:lvl1pPr>
          </a:lstStyle>
          <a:p>
            <a:r>
              <a:rPr lang="sv-SE" dirty="0"/>
              <a:t>Markera bildplatshållaren och infoga önskad bild</a:t>
            </a:r>
          </a:p>
        </p:txBody>
      </p:sp>
      <p:sp>
        <p:nvSpPr>
          <p:cNvPr id="11" name="Designelement">
            <a:extLst>
              <a:ext uri="{FF2B5EF4-FFF2-40B4-BE49-F238E27FC236}">
                <a16:creationId xmlns:a16="http://schemas.microsoft.com/office/drawing/2014/main" id="{043CE9D1-6E4C-4CAB-A0C2-A3DCFAA8443D}"/>
              </a:ext>
              <a:ext uri="{C183D7F6-B498-43B3-948B-1728B52AA6E4}">
                <adec:decorative xmlns:adec="http://schemas.microsoft.com/office/drawing/2017/decorative" val="1"/>
              </a:ext>
            </a:extLst>
          </p:cNvPr>
          <p:cNvSpPr/>
          <p:nvPr userDrawn="1"/>
        </p:nvSpPr>
        <p:spPr>
          <a:xfrm>
            <a:off x="5476239" y="0"/>
            <a:ext cx="3258793" cy="3287986"/>
          </a:xfrm>
          <a:custGeom>
            <a:avLst/>
            <a:gdLst>
              <a:gd name="connsiteX0" fmla="*/ 1143739 w 6425711"/>
              <a:gd name="connsiteY0" fmla="*/ 1351755 h 6483274"/>
              <a:gd name="connsiteX1" fmla="*/ 0 w 6425711"/>
              <a:gd name="connsiteY1" fmla="*/ 1129129 h 6483274"/>
              <a:gd name="connsiteX2" fmla="*/ 0 w 6425711"/>
              <a:gd name="connsiteY2" fmla="*/ 855021 h 6483274"/>
              <a:gd name="connsiteX3" fmla="*/ 417423 w 6425711"/>
              <a:gd name="connsiteY3" fmla="*/ 936419 h 6483274"/>
              <a:gd name="connsiteX4" fmla="*/ 0 w 6425711"/>
              <a:gd name="connsiteY4" fmla="*/ 460557 h 6483274"/>
              <a:gd name="connsiteX5" fmla="*/ 0 w 6425711"/>
              <a:gd name="connsiteY5" fmla="*/ 52178 h 6483274"/>
              <a:gd name="connsiteX6" fmla="*/ 1143739 w 6425711"/>
              <a:gd name="connsiteY6" fmla="*/ 1351755 h 6483274"/>
              <a:gd name="connsiteX7" fmla="*/ 0 w 6425711"/>
              <a:gd name="connsiteY7" fmla="*/ 2112160 h 6483274"/>
              <a:gd name="connsiteX8" fmla="*/ 0 w 6425711"/>
              <a:gd name="connsiteY8" fmla="*/ 2390442 h 6483274"/>
              <a:gd name="connsiteX9" fmla="*/ 417423 w 6425711"/>
              <a:gd name="connsiteY9" fmla="*/ 2308349 h 6483274"/>
              <a:gd name="connsiteX10" fmla="*/ 0 w 6425711"/>
              <a:gd name="connsiteY10" fmla="*/ 2782820 h 6483274"/>
              <a:gd name="connsiteX11" fmla="*/ 0 w 6425711"/>
              <a:gd name="connsiteY11" fmla="*/ 3191199 h 6483274"/>
              <a:gd name="connsiteX12" fmla="*/ 1143739 w 6425711"/>
              <a:gd name="connsiteY12" fmla="*/ 1891622 h 6483274"/>
              <a:gd name="connsiteX13" fmla="*/ 4140140 w 6425711"/>
              <a:gd name="connsiteY13" fmla="*/ 672747 h 6483274"/>
              <a:gd name="connsiteX14" fmla="*/ 2793951 w 6425711"/>
              <a:gd name="connsiteY14" fmla="*/ 936419 h 6483274"/>
              <a:gd name="connsiteX15" fmla="*/ 3616971 w 6425711"/>
              <a:gd name="connsiteY15" fmla="*/ 0 h 6483274"/>
              <a:gd name="connsiteX16" fmla="*/ 3258682 w 6425711"/>
              <a:gd name="connsiteY16" fmla="*/ 0 h 6483274"/>
              <a:gd name="connsiteX17" fmla="*/ 2069027 w 6425711"/>
              <a:gd name="connsiteY17" fmla="*/ 1351755 h 6483274"/>
              <a:gd name="connsiteX18" fmla="*/ 4193014 w 6425711"/>
              <a:gd name="connsiteY18" fmla="*/ 934332 h 6483274"/>
              <a:gd name="connsiteX19" fmla="*/ 4958290 w 6425711"/>
              <a:gd name="connsiteY19" fmla="*/ 372202 h 6483274"/>
              <a:gd name="connsiteX20" fmla="*/ 5412585 w 6425711"/>
              <a:gd name="connsiteY20" fmla="*/ 0 h 6483274"/>
              <a:gd name="connsiteX21" fmla="*/ 4957594 w 6425711"/>
              <a:gd name="connsiteY21" fmla="*/ 0 h 6483274"/>
              <a:gd name="connsiteX22" fmla="*/ 4140140 w 6425711"/>
              <a:gd name="connsiteY22" fmla="*/ 672747 h 6483274"/>
              <a:gd name="connsiteX23" fmla="*/ 1977194 w 6425711"/>
              <a:gd name="connsiteY23" fmla="*/ 0 h 6483274"/>
              <a:gd name="connsiteX24" fmla="*/ 1692650 w 6425711"/>
              <a:gd name="connsiteY24" fmla="*/ 0 h 6483274"/>
              <a:gd name="connsiteX25" fmla="*/ 1606383 w 6425711"/>
              <a:gd name="connsiteY25" fmla="*/ 252541 h 6483274"/>
              <a:gd name="connsiteX26" fmla="*/ 1519420 w 6425711"/>
              <a:gd name="connsiteY26" fmla="*/ 0 h 6483274"/>
              <a:gd name="connsiteX27" fmla="*/ 1234876 w 6425711"/>
              <a:gd name="connsiteY27" fmla="*/ 0 h 6483274"/>
              <a:gd name="connsiteX28" fmla="*/ 1605687 w 6425711"/>
              <a:gd name="connsiteY28" fmla="*/ 1081821 h 6483274"/>
              <a:gd name="connsiteX29" fmla="*/ 1977194 w 6425711"/>
              <a:gd name="connsiteY29" fmla="*/ 0 h 6483274"/>
              <a:gd name="connsiteX30" fmla="*/ 6425532 w 6425711"/>
              <a:gd name="connsiteY30" fmla="*/ 861978 h 6483274"/>
              <a:gd name="connsiteX31" fmla="*/ 5863402 w 6425711"/>
              <a:gd name="connsiteY31" fmla="*/ 525953 h 6483274"/>
              <a:gd name="connsiteX32" fmla="*/ 6024805 w 6425711"/>
              <a:gd name="connsiteY32" fmla="*/ 0 h 6483274"/>
              <a:gd name="connsiteX33" fmla="*/ 5752785 w 6425711"/>
              <a:gd name="connsiteY33" fmla="*/ 0 h 6483274"/>
              <a:gd name="connsiteX34" fmla="*/ 5370843 w 6425711"/>
              <a:gd name="connsiteY34" fmla="*/ 772928 h 6483274"/>
              <a:gd name="connsiteX35" fmla="*/ 6152120 w 6425711"/>
              <a:gd name="connsiteY35" fmla="*/ 932245 h 6483274"/>
              <a:gd name="connsiteX36" fmla="*/ 5228223 w 6425711"/>
              <a:gd name="connsiteY36" fmla="*/ 1620993 h 6483274"/>
              <a:gd name="connsiteX37" fmla="*/ 6152120 w 6425711"/>
              <a:gd name="connsiteY37" fmla="*/ 2309741 h 6483274"/>
              <a:gd name="connsiteX38" fmla="*/ 5370843 w 6425711"/>
              <a:gd name="connsiteY38" fmla="*/ 2469057 h 6483274"/>
              <a:gd name="connsiteX39" fmla="*/ 5764612 w 6425711"/>
              <a:gd name="connsiteY39" fmla="*/ 3367908 h 6483274"/>
              <a:gd name="connsiteX40" fmla="*/ 4957594 w 6425711"/>
              <a:gd name="connsiteY40" fmla="*/ 2867696 h 6483274"/>
              <a:gd name="connsiteX41" fmla="*/ 4192318 w 6425711"/>
              <a:gd name="connsiteY41" fmla="*/ 2304871 h 6483274"/>
              <a:gd name="connsiteX42" fmla="*/ 2068331 w 6425711"/>
              <a:gd name="connsiteY42" fmla="*/ 1887448 h 6483274"/>
              <a:gd name="connsiteX43" fmla="*/ 3487569 w 6425711"/>
              <a:gd name="connsiteY43" fmla="*/ 3501483 h 6483274"/>
              <a:gd name="connsiteX44" fmla="*/ 4348852 w 6425711"/>
              <a:gd name="connsiteY44" fmla="*/ 3874381 h 6483274"/>
              <a:gd name="connsiteX45" fmla="*/ 5205265 w 6425711"/>
              <a:gd name="connsiteY45" fmla="*/ 4337025 h 6483274"/>
              <a:gd name="connsiteX46" fmla="*/ 4236844 w 6425711"/>
              <a:gd name="connsiteY46" fmla="*/ 4436511 h 6483274"/>
              <a:gd name="connsiteX47" fmla="*/ 4495646 w 6425711"/>
              <a:gd name="connsiteY47" fmla="*/ 5196916 h 6483274"/>
              <a:gd name="connsiteX48" fmla="*/ 3442348 w 6425711"/>
              <a:gd name="connsiteY48" fmla="*/ 4766970 h 6483274"/>
              <a:gd name="connsiteX49" fmla="*/ 3289989 w 6425711"/>
              <a:gd name="connsiteY49" fmla="*/ 5899578 h 6483274"/>
              <a:gd name="connsiteX50" fmla="*/ 2752209 w 6425711"/>
              <a:gd name="connsiteY50" fmla="*/ 5287358 h 6483274"/>
              <a:gd name="connsiteX51" fmla="*/ 2173383 w 6425711"/>
              <a:gd name="connsiteY51" fmla="*/ 6088810 h 6483274"/>
              <a:gd name="connsiteX52" fmla="*/ 2198428 w 6425711"/>
              <a:gd name="connsiteY52" fmla="*/ 5114823 h 6483274"/>
              <a:gd name="connsiteX53" fmla="*/ 2300001 w 6425711"/>
              <a:gd name="connsiteY53" fmla="*/ 4190927 h 6483274"/>
              <a:gd name="connsiteX54" fmla="*/ 1604296 w 6425711"/>
              <a:gd name="connsiteY54" fmla="*/ 2162251 h 6483274"/>
              <a:gd name="connsiteX55" fmla="*/ 908591 w 6425711"/>
              <a:gd name="connsiteY55" fmla="*/ 4190927 h 6483274"/>
              <a:gd name="connsiteX56" fmla="*/ 1010859 w 6425711"/>
              <a:gd name="connsiteY56" fmla="*/ 5115519 h 6483274"/>
              <a:gd name="connsiteX57" fmla="*/ 1035209 w 6425711"/>
              <a:gd name="connsiteY57" fmla="*/ 6089506 h 6483274"/>
              <a:gd name="connsiteX58" fmla="*/ 460557 w 6425711"/>
              <a:gd name="connsiteY58" fmla="*/ 5287358 h 6483274"/>
              <a:gd name="connsiteX59" fmla="*/ 0 w 6425711"/>
              <a:gd name="connsiteY59" fmla="*/ 5873141 h 6483274"/>
              <a:gd name="connsiteX60" fmla="*/ 0 w 6425711"/>
              <a:gd name="connsiteY60" fmla="*/ 6159772 h 6483274"/>
              <a:gd name="connsiteX61" fmla="*/ 427163 w 6425711"/>
              <a:gd name="connsiteY61" fmla="*/ 5840443 h 6483274"/>
              <a:gd name="connsiteX62" fmla="*/ 1168784 w 6425711"/>
              <a:gd name="connsiteY62" fmla="*/ 6483275 h 6483274"/>
              <a:gd name="connsiteX63" fmla="*/ 1168784 w 6425711"/>
              <a:gd name="connsiteY63" fmla="*/ 4275107 h 6483274"/>
              <a:gd name="connsiteX64" fmla="*/ 1607079 w 6425711"/>
              <a:gd name="connsiteY64" fmla="*/ 2989444 h 6483274"/>
              <a:gd name="connsiteX65" fmla="*/ 2045373 w 6425711"/>
              <a:gd name="connsiteY65" fmla="*/ 4275107 h 6483274"/>
              <a:gd name="connsiteX66" fmla="*/ 2045373 w 6425711"/>
              <a:gd name="connsiteY66" fmla="*/ 6483275 h 6483274"/>
              <a:gd name="connsiteX67" fmla="*/ 2782820 w 6425711"/>
              <a:gd name="connsiteY67" fmla="*/ 5843922 h 6483274"/>
              <a:gd name="connsiteX68" fmla="*/ 3363038 w 6425711"/>
              <a:gd name="connsiteY68" fmla="*/ 6178556 h 6483274"/>
              <a:gd name="connsiteX69" fmla="*/ 3772113 w 6425711"/>
              <a:gd name="connsiteY69" fmla="*/ 5349276 h 6483274"/>
              <a:gd name="connsiteX70" fmla="*/ 4691835 w 6425711"/>
              <a:gd name="connsiteY70" fmla="*/ 5404236 h 6483274"/>
              <a:gd name="connsiteX71" fmla="*/ 4691835 w 6425711"/>
              <a:gd name="connsiteY71" fmla="*/ 4748187 h 6483274"/>
              <a:gd name="connsiteX72" fmla="*/ 5603904 w 6425711"/>
              <a:gd name="connsiteY72" fmla="*/ 4428162 h 6483274"/>
              <a:gd name="connsiteX73" fmla="*/ 3685845 w 6425711"/>
              <a:gd name="connsiteY73" fmla="*/ 3330340 h 6483274"/>
              <a:gd name="connsiteX74" fmla="*/ 2793951 w 6425711"/>
              <a:gd name="connsiteY74" fmla="*/ 2304871 h 6483274"/>
              <a:gd name="connsiteX75" fmla="*/ 4140140 w 6425711"/>
              <a:gd name="connsiteY75" fmla="*/ 2569239 h 6483274"/>
              <a:gd name="connsiteX76" fmla="*/ 6037328 w 6425711"/>
              <a:gd name="connsiteY76" fmla="*/ 3680279 h 6483274"/>
              <a:gd name="connsiteX77" fmla="*/ 5863402 w 6425711"/>
              <a:gd name="connsiteY77" fmla="*/ 2715336 h 6483274"/>
              <a:gd name="connsiteX78" fmla="*/ 6425532 w 6425711"/>
              <a:gd name="connsiteY78" fmla="*/ 2380007 h 6483274"/>
              <a:gd name="connsiteX79" fmla="*/ 5892621 w 6425711"/>
              <a:gd name="connsiteY79" fmla="*/ 1620993 h 6483274"/>
              <a:gd name="connsiteX80" fmla="*/ 6425532 w 6425711"/>
              <a:gd name="connsiteY80" fmla="*/ 861978 h 648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6425711" h="6483274">
                <a:moveTo>
                  <a:pt x="1143739" y="1351755"/>
                </a:moveTo>
                <a:lnTo>
                  <a:pt x="0" y="1129129"/>
                </a:lnTo>
                <a:lnTo>
                  <a:pt x="0" y="855021"/>
                </a:lnTo>
                <a:lnTo>
                  <a:pt x="417423" y="936419"/>
                </a:lnTo>
                <a:lnTo>
                  <a:pt x="0" y="460557"/>
                </a:lnTo>
                <a:lnTo>
                  <a:pt x="0" y="52178"/>
                </a:lnTo>
                <a:cubicBezTo>
                  <a:pt x="461948" y="578131"/>
                  <a:pt x="1107562" y="1310708"/>
                  <a:pt x="1143739" y="1351755"/>
                </a:cubicBezTo>
                <a:close/>
                <a:moveTo>
                  <a:pt x="0" y="2112160"/>
                </a:moveTo>
                <a:lnTo>
                  <a:pt x="0" y="2390442"/>
                </a:lnTo>
                <a:lnTo>
                  <a:pt x="417423" y="2308349"/>
                </a:lnTo>
                <a:lnTo>
                  <a:pt x="0" y="2782820"/>
                </a:lnTo>
                <a:lnTo>
                  <a:pt x="0" y="3191199"/>
                </a:lnTo>
                <a:cubicBezTo>
                  <a:pt x="461948" y="2665246"/>
                  <a:pt x="1107562" y="1932668"/>
                  <a:pt x="1143739" y="1891622"/>
                </a:cubicBezTo>
                <a:close/>
                <a:moveTo>
                  <a:pt x="4140140" y="672747"/>
                </a:moveTo>
                <a:cubicBezTo>
                  <a:pt x="3758199" y="749274"/>
                  <a:pt x="3147370" y="868240"/>
                  <a:pt x="2793951" y="936419"/>
                </a:cubicBezTo>
                <a:cubicBezTo>
                  <a:pt x="2957442" y="750666"/>
                  <a:pt x="3350515" y="310284"/>
                  <a:pt x="3616971" y="0"/>
                </a:cubicBezTo>
                <a:lnTo>
                  <a:pt x="3258682" y="0"/>
                </a:lnTo>
                <a:cubicBezTo>
                  <a:pt x="2794647" y="528736"/>
                  <a:pt x="2106595" y="1309317"/>
                  <a:pt x="2069027" y="1351755"/>
                </a:cubicBezTo>
                <a:cubicBezTo>
                  <a:pt x="2138597" y="1338536"/>
                  <a:pt x="3574532" y="1060254"/>
                  <a:pt x="4193014" y="934332"/>
                </a:cubicBezTo>
                <a:cubicBezTo>
                  <a:pt x="4505386" y="871718"/>
                  <a:pt x="4734968" y="617786"/>
                  <a:pt x="4958290" y="372202"/>
                </a:cubicBezTo>
                <a:cubicBezTo>
                  <a:pt x="5079895" y="215638"/>
                  <a:pt x="5235159" y="88431"/>
                  <a:pt x="5412585" y="0"/>
                </a:cubicBezTo>
                <a:lnTo>
                  <a:pt x="4957594" y="0"/>
                </a:lnTo>
                <a:cubicBezTo>
                  <a:pt x="4720359" y="230278"/>
                  <a:pt x="4542258" y="498820"/>
                  <a:pt x="4140140" y="672747"/>
                </a:cubicBezTo>
                <a:close/>
                <a:moveTo>
                  <a:pt x="1977194" y="0"/>
                </a:moveTo>
                <a:lnTo>
                  <a:pt x="1692650" y="0"/>
                </a:lnTo>
                <a:lnTo>
                  <a:pt x="1606383" y="252541"/>
                </a:lnTo>
                <a:cubicBezTo>
                  <a:pt x="1580642" y="178796"/>
                  <a:pt x="1551422" y="92529"/>
                  <a:pt x="1519420" y="0"/>
                </a:cubicBezTo>
                <a:lnTo>
                  <a:pt x="1234876" y="0"/>
                </a:lnTo>
                <a:lnTo>
                  <a:pt x="1605687" y="1081821"/>
                </a:lnTo>
                <a:cubicBezTo>
                  <a:pt x="1618906" y="1043557"/>
                  <a:pt x="1794919" y="531519"/>
                  <a:pt x="1977194" y="0"/>
                </a:cubicBezTo>
                <a:close/>
                <a:moveTo>
                  <a:pt x="6425532" y="861978"/>
                </a:moveTo>
                <a:cubicBezTo>
                  <a:pt x="6326046" y="647006"/>
                  <a:pt x="6067939" y="556564"/>
                  <a:pt x="5863402" y="525953"/>
                </a:cubicBezTo>
                <a:cubicBezTo>
                  <a:pt x="5939486" y="358264"/>
                  <a:pt x="5993730" y="181502"/>
                  <a:pt x="6024805" y="0"/>
                </a:cubicBezTo>
                <a:lnTo>
                  <a:pt x="5752785" y="0"/>
                </a:lnTo>
                <a:cubicBezTo>
                  <a:pt x="5692989" y="285833"/>
                  <a:pt x="5561565" y="551792"/>
                  <a:pt x="5370843" y="772928"/>
                </a:cubicBezTo>
                <a:cubicBezTo>
                  <a:pt x="5603904" y="764580"/>
                  <a:pt x="6042894" y="784755"/>
                  <a:pt x="6152120" y="932245"/>
                </a:cubicBezTo>
                <a:cubicBezTo>
                  <a:pt x="6142380" y="1177829"/>
                  <a:pt x="5608774" y="1513854"/>
                  <a:pt x="5228223" y="1620993"/>
                </a:cubicBezTo>
                <a:cubicBezTo>
                  <a:pt x="5608774" y="1727435"/>
                  <a:pt x="6143076" y="2064852"/>
                  <a:pt x="6152120" y="2309741"/>
                </a:cubicBezTo>
                <a:cubicBezTo>
                  <a:pt x="6043590" y="2457230"/>
                  <a:pt x="5603208" y="2476710"/>
                  <a:pt x="5370843" y="2469057"/>
                </a:cubicBezTo>
                <a:cubicBezTo>
                  <a:pt x="5586512" y="2696552"/>
                  <a:pt x="5768786" y="3132759"/>
                  <a:pt x="5764612" y="3367908"/>
                </a:cubicBezTo>
                <a:cubicBezTo>
                  <a:pt x="5445830" y="3299573"/>
                  <a:pt x="5160617" y="3122790"/>
                  <a:pt x="4957594" y="2867696"/>
                </a:cubicBezTo>
                <a:cubicBezTo>
                  <a:pt x="4734968" y="2622112"/>
                  <a:pt x="4505386" y="2367484"/>
                  <a:pt x="4192318" y="2304871"/>
                </a:cubicBezTo>
                <a:cubicBezTo>
                  <a:pt x="3573837" y="2181731"/>
                  <a:pt x="2135815" y="1903449"/>
                  <a:pt x="2068331" y="1887448"/>
                </a:cubicBezTo>
                <a:cubicBezTo>
                  <a:pt x="2112856" y="1937538"/>
                  <a:pt x="3072929" y="3026317"/>
                  <a:pt x="3487569" y="3501483"/>
                </a:cubicBezTo>
                <a:cubicBezTo>
                  <a:pt x="3696281" y="3736631"/>
                  <a:pt x="4026045" y="3806898"/>
                  <a:pt x="4348852" y="3874381"/>
                </a:cubicBezTo>
                <a:cubicBezTo>
                  <a:pt x="4667485" y="3898731"/>
                  <a:pt x="5057775" y="4138053"/>
                  <a:pt x="5205265" y="4337025"/>
                </a:cubicBezTo>
                <a:cubicBezTo>
                  <a:pt x="5006989" y="4453903"/>
                  <a:pt x="4538084" y="4508864"/>
                  <a:pt x="4236844" y="4436511"/>
                </a:cubicBezTo>
                <a:cubicBezTo>
                  <a:pt x="4359983" y="4635482"/>
                  <a:pt x="4567304" y="5034817"/>
                  <a:pt x="4495646" y="5196916"/>
                </a:cubicBezTo>
                <a:cubicBezTo>
                  <a:pt x="4261193" y="5318664"/>
                  <a:pt x="3742893" y="5062645"/>
                  <a:pt x="3442348" y="4766970"/>
                </a:cubicBezTo>
                <a:cubicBezTo>
                  <a:pt x="3547400" y="5174653"/>
                  <a:pt x="3507049" y="5761133"/>
                  <a:pt x="3289989" y="5899578"/>
                </a:cubicBezTo>
                <a:cubicBezTo>
                  <a:pt x="3108410" y="5878011"/>
                  <a:pt x="2863522" y="5496069"/>
                  <a:pt x="2752209" y="5287358"/>
                </a:cubicBezTo>
                <a:cubicBezTo>
                  <a:pt x="2663159" y="5589294"/>
                  <a:pt x="2378615" y="5970540"/>
                  <a:pt x="2173383" y="6088810"/>
                </a:cubicBezTo>
                <a:cubicBezTo>
                  <a:pt x="2077375" y="5859923"/>
                  <a:pt x="2061374" y="5402845"/>
                  <a:pt x="2198428" y="5114823"/>
                </a:cubicBezTo>
                <a:cubicBezTo>
                  <a:pt x="2297914" y="4807321"/>
                  <a:pt x="2400878" y="4488688"/>
                  <a:pt x="2300001" y="4190927"/>
                </a:cubicBezTo>
                <a:cubicBezTo>
                  <a:pt x="2097551" y="3590533"/>
                  <a:pt x="1627950" y="2226256"/>
                  <a:pt x="1604296" y="2162251"/>
                </a:cubicBezTo>
                <a:cubicBezTo>
                  <a:pt x="1582729" y="2226256"/>
                  <a:pt x="1117302" y="3591229"/>
                  <a:pt x="908591" y="4190927"/>
                </a:cubicBezTo>
                <a:cubicBezTo>
                  <a:pt x="808409" y="4489384"/>
                  <a:pt x="908591" y="4807321"/>
                  <a:pt x="1010859" y="5115519"/>
                </a:cubicBezTo>
                <a:cubicBezTo>
                  <a:pt x="1150000" y="5408410"/>
                  <a:pt x="1131216" y="5859923"/>
                  <a:pt x="1035209" y="6089506"/>
                </a:cubicBezTo>
                <a:cubicBezTo>
                  <a:pt x="834846" y="5969844"/>
                  <a:pt x="549607" y="5588598"/>
                  <a:pt x="460557" y="5287358"/>
                </a:cubicBezTo>
                <a:cubicBezTo>
                  <a:pt x="364549" y="5468241"/>
                  <a:pt x="169056" y="5774351"/>
                  <a:pt x="0" y="5873141"/>
                </a:cubicBezTo>
                <a:lnTo>
                  <a:pt x="0" y="6159772"/>
                </a:lnTo>
                <a:cubicBezTo>
                  <a:pt x="182275" y="6108985"/>
                  <a:pt x="340200" y="5951060"/>
                  <a:pt x="427163" y="5840443"/>
                </a:cubicBezTo>
                <a:cubicBezTo>
                  <a:pt x="775015" y="6311436"/>
                  <a:pt x="973987" y="6360135"/>
                  <a:pt x="1168784" y="6483275"/>
                </a:cubicBezTo>
                <a:cubicBezTo>
                  <a:pt x="1715609" y="5412585"/>
                  <a:pt x="1077647" y="5146130"/>
                  <a:pt x="1168784" y="4275107"/>
                </a:cubicBezTo>
                <a:cubicBezTo>
                  <a:pt x="1284967" y="3927255"/>
                  <a:pt x="1468633" y="3392257"/>
                  <a:pt x="1607079" y="2989444"/>
                </a:cubicBezTo>
                <a:cubicBezTo>
                  <a:pt x="1723261" y="3327557"/>
                  <a:pt x="1922929" y="3911253"/>
                  <a:pt x="2045373" y="4275107"/>
                </a:cubicBezTo>
                <a:cubicBezTo>
                  <a:pt x="2133032" y="5139173"/>
                  <a:pt x="1500636" y="5432760"/>
                  <a:pt x="2045373" y="6483275"/>
                </a:cubicBezTo>
                <a:cubicBezTo>
                  <a:pt x="2238083" y="6360831"/>
                  <a:pt x="2434968" y="6310740"/>
                  <a:pt x="2782820" y="5843922"/>
                </a:cubicBezTo>
                <a:cubicBezTo>
                  <a:pt x="2893437" y="5983063"/>
                  <a:pt x="3119541" y="6202906"/>
                  <a:pt x="3363038" y="6178556"/>
                </a:cubicBezTo>
                <a:cubicBezTo>
                  <a:pt x="3571750" y="6063765"/>
                  <a:pt x="3751937" y="5785483"/>
                  <a:pt x="3772113" y="5349276"/>
                </a:cubicBezTo>
                <a:cubicBezTo>
                  <a:pt x="4156838" y="5548247"/>
                  <a:pt x="4487297" y="5530159"/>
                  <a:pt x="4691835" y="5404236"/>
                </a:cubicBezTo>
                <a:cubicBezTo>
                  <a:pt x="4826106" y="5212222"/>
                  <a:pt x="4771841" y="4942984"/>
                  <a:pt x="4691835" y="4748187"/>
                </a:cubicBezTo>
                <a:cubicBezTo>
                  <a:pt x="5266487" y="4678616"/>
                  <a:pt x="5404237" y="4535301"/>
                  <a:pt x="5603904" y="4428162"/>
                </a:cubicBezTo>
                <a:cubicBezTo>
                  <a:pt x="4964551" y="3420086"/>
                  <a:pt x="4388508" y="3838900"/>
                  <a:pt x="3685845" y="3330340"/>
                </a:cubicBezTo>
                <a:cubicBezTo>
                  <a:pt x="3439566" y="3038839"/>
                  <a:pt x="3031187" y="2574108"/>
                  <a:pt x="2793951" y="2304871"/>
                </a:cubicBezTo>
                <a:cubicBezTo>
                  <a:pt x="3150848" y="2374441"/>
                  <a:pt x="3767938" y="2494102"/>
                  <a:pt x="4140140" y="2569239"/>
                </a:cubicBezTo>
                <a:cubicBezTo>
                  <a:pt x="4918634" y="2905960"/>
                  <a:pt x="4873414" y="3617666"/>
                  <a:pt x="6037328" y="3680279"/>
                </a:cubicBezTo>
                <a:cubicBezTo>
                  <a:pt x="6032458" y="3452784"/>
                  <a:pt x="6092289" y="3253116"/>
                  <a:pt x="5863402" y="2715336"/>
                </a:cubicBezTo>
                <a:cubicBezTo>
                  <a:pt x="6067939" y="2684726"/>
                  <a:pt x="6326046" y="2594980"/>
                  <a:pt x="6425532" y="2380007"/>
                </a:cubicBezTo>
                <a:cubicBezTo>
                  <a:pt x="6431793" y="2146946"/>
                  <a:pt x="6274564" y="1861707"/>
                  <a:pt x="5892621" y="1620993"/>
                </a:cubicBezTo>
                <a:cubicBezTo>
                  <a:pt x="6275259" y="1380279"/>
                  <a:pt x="6431793" y="1095040"/>
                  <a:pt x="6425532" y="861978"/>
                </a:cubicBezTo>
                <a:close/>
              </a:path>
            </a:pathLst>
          </a:custGeom>
          <a:solidFill>
            <a:srgbClr val="FFFFFF">
              <a:alpha val="5000"/>
            </a:srgbClr>
          </a:solidFill>
          <a:ln w="69470" cap="flat">
            <a:noFill/>
            <a:prstDash val="solid"/>
            <a:miter/>
          </a:ln>
        </p:spPr>
        <p:txBody>
          <a:bodyPr rtlCol="0" anchor="ctr"/>
          <a:lstStyle/>
          <a:p>
            <a:endParaRPr lang="sv-SE" sz="1350" dirty="0"/>
          </a:p>
        </p:txBody>
      </p:sp>
      <p:grpSp>
        <p:nvGrpSpPr>
          <p:cNvPr id="17" name="Region Östergötland">
            <a:extLst>
              <a:ext uri="{FF2B5EF4-FFF2-40B4-BE49-F238E27FC236}">
                <a16:creationId xmlns:a16="http://schemas.microsoft.com/office/drawing/2014/main" id="{6D8D5605-6781-476B-AC43-4CF08A7DE941}"/>
              </a:ext>
              <a:ext uri="{C183D7F6-B498-43B3-948B-1728B52AA6E4}">
                <adec:decorative xmlns:adec="http://schemas.microsoft.com/office/drawing/2017/decorative" val="1"/>
              </a:ext>
            </a:extLst>
          </p:cNvPr>
          <p:cNvGrpSpPr/>
          <p:nvPr userDrawn="1"/>
        </p:nvGrpSpPr>
        <p:grpSpPr>
          <a:xfrm>
            <a:off x="7930585" y="4673844"/>
            <a:ext cx="1212485" cy="324838"/>
            <a:chOff x="10580645" y="6231792"/>
            <a:chExt cx="1616646" cy="433117"/>
          </a:xfrm>
        </p:grpSpPr>
        <p:sp>
          <p:nvSpPr>
            <p:cNvPr id="18" name="Frihandsfigur: Form 17">
              <a:extLst>
                <a:ext uri="{FF2B5EF4-FFF2-40B4-BE49-F238E27FC236}">
                  <a16:creationId xmlns:a16="http://schemas.microsoft.com/office/drawing/2014/main" id="{43D01E2E-97C2-429C-A7A2-D479ED89CD40}"/>
                </a:ext>
              </a:extLst>
            </p:cNvPr>
            <p:cNvSpPr/>
            <p:nvPr userDrawn="1"/>
          </p:nvSpPr>
          <p:spPr>
            <a:xfrm>
              <a:off x="10580645" y="6231792"/>
              <a:ext cx="1616646" cy="433117"/>
            </a:xfrm>
            <a:custGeom>
              <a:avLst/>
              <a:gdLst>
                <a:gd name="connsiteX0" fmla="*/ 216372 w 1616646"/>
                <a:gd name="connsiteY0" fmla="*/ 0 h 433117"/>
                <a:gd name="connsiteX1" fmla="*/ 1616646 w 1616646"/>
                <a:gd name="connsiteY1" fmla="*/ 0 h 433117"/>
                <a:gd name="connsiteX2" fmla="*/ 1616646 w 1616646"/>
                <a:gd name="connsiteY2" fmla="*/ 0 h 433117"/>
                <a:gd name="connsiteX3" fmla="*/ 1616646 w 1616646"/>
                <a:gd name="connsiteY3" fmla="*/ 433117 h 433117"/>
                <a:gd name="connsiteX4" fmla="*/ 1616646 w 1616646"/>
                <a:gd name="connsiteY4" fmla="*/ 433117 h 433117"/>
                <a:gd name="connsiteX5" fmla="*/ 216372 w 1616646"/>
                <a:gd name="connsiteY5" fmla="*/ 433117 h 433117"/>
                <a:gd name="connsiteX6" fmla="*/ 0 w 1616646"/>
                <a:gd name="connsiteY6" fmla="*/ 216372 h 433117"/>
                <a:gd name="connsiteX7" fmla="*/ 0 w 1616646"/>
                <a:gd name="connsiteY7" fmla="*/ 216372 h 433117"/>
                <a:gd name="connsiteX8" fmla="*/ 0 w 1616646"/>
                <a:gd name="connsiteY8" fmla="*/ 216372 h 433117"/>
                <a:gd name="connsiteX9" fmla="*/ 216372 w 1616646"/>
                <a:gd name="connsiteY9" fmla="*/ 0 h 433117"/>
                <a:gd name="connsiteX10" fmla="*/ 216372 w 1616646"/>
                <a:gd name="connsiteY10" fmla="*/ 0 h 43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646" h="433117">
                  <a:moveTo>
                    <a:pt x="216372" y="0"/>
                  </a:moveTo>
                  <a:lnTo>
                    <a:pt x="1616646" y="0"/>
                  </a:lnTo>
                  <a:lnTo>
                    <a:pt x="1616646" y="0"/>
                  </a:lnTo>
                  <a:lnTo>
                    <a:pt x="1616646" y="433117"/>
                  </a:lnTo>
                  <a:lnTo>
                    <a:pt x="1616646" y="433117"/>
                  </a:lnTo>
                  <a:lnTo>
                    <a:pt x="216372" y="433117"/>
                  </a:lnTo>
                  <a:cubicBezTo>
                    <a:pt x="96827" y="433117"/>
                    <a:pt x="0" y="335917"/>
                    <a:pt x="0" y="216372"/>
                  </a:cubicBezTo>
                  <a:cubicBezTo>
                    <a:pt x="0" y="216372"/>
                    <a:pt x="0" y="216372"/>
                    <a:pt x="0" y="216372"/>
                  </a:cubicBezTo>
                  <a:lnTo>
                    <a:pt x="0" y="216372"/>
                  </a:lnTo>
                  <a:cubicBezTo>
                    <a:pt x="0" y="96828"/>
                    <a:pt x="96827" y="0"/>
                    <a:pt x="216372" y="0"/>
                  </a:cubicBezTo>
                  <a:cubicBezTo>
                    <a:pt x="216372" y="0"/>
                    <a:pt x="216372" y="0"/>
                    <a:pt x="216372" y="0"/>
                  </a:cubicBezTo>
                  <a:close/>
                </a:path>
              </a:pathLst>
            </a:custGeom>
            <a:solidFill>
              <a:srgbClr val="0861CE"/>
            </a:solidFill>
            <a:ln w="3709" cap="flat">
              <a:noFill/>
              <a:prstDash val="solid"/>
              <a:miter/>
            </a:ln>
          </p:spPr>
          <p:txBody>
            <a:bodyPr rtlCol="0" anchor="ctr"/>
            <a:lstStyle/>
            <a:p>
              <a:endParaRPr lang="sv-SE" sz="1350"/>
            </a:p>
          </p:txBody>
        </p:sp>
        <p:sp>
          <p:nvSpPr>
            <p:cNvPr id="19" name="Frihandsfigur: Form 18">
              <a:extLst>
                <a:ext uri="{FF2B5EF4-FFF2-40B4-BE49-F238E27FC236}">
                  <a16:creationId xmlns:a16="http://schemas.microsoft.com/office/drawing/2014/main" id="{60D36897-49C2-4C1B-A3F2-122CFC666096}"/>
                </a:ext>
              </a:extLst>
            </p:cNvPr>
            <p:cNvSpPr/>
            <p:nvPr/>
          </p:nvSpPr>
          <p:spPr>
            <a:xfrm>
              <a:off x="10647288" y="6298826"/>
              <a:ext cx="1254307" cy="298698"/>
            </a:xfrm>
            <a:custGeom>
              <a:avLst/>
              <a:gdLst>
                <a:gd name="connsiteX0" fmla="*/ 1053948 w 1254307"/>
                <a:gd name="connsiteY0" fmla="*/ 221958 h 298698"/>
                <a:gd name="connsiteX1" fmla="*/ 1027135 w 1254307"/>
                <a:gd name="connsiteY1" fmla="*/ 228662 h 298698"/>
                <a:gd name="connsiteX2" fmla="*/ 1023783 w 1254307"/>
                <a:gd name="connsiteY2" fmla="*/ 237972 h 298698"/>
                <a:gd name="connsiteX3" fmla="*/ 1039424 w 1254307"/>
                <a:gd name="connsiteY3" fmla="*/ 251379 h 298698"/>
                <a:gd name="connsiteX4" fmla="*/ 1057672 w 1254307"/>
                <a:gd name="connsiteY4" fmla="*/ 245793 h 298698"/>
                <a:gd name="connsiteX5" fmla="*/ 1058417 w 1254307"/>
                <a:gd name="connsiteY5" fmla="*/ 245420 h 298698"/>
                <a:gd name="connsiteX6" fmla="*/ 1058790 w 1254307"/>
                <a:gd name="connsiteY6" fmla="*/ 245048 h 298698"/>
                <a:gd name="connsiteX7" fmla="*/ 1058790 w 1254307"/>
                <a:gd name="connsiteY7" fmla="*/ 221958 h 298698"/>
                <a:gd name="connsiteX8" fmla="*/ 1221535 w 1254307"/>
                <a:gd name="connsiteY8" fmla="*/ 191793 h 298698"/>
                <a:gd name="connsiteX9" fmla="*/ 1196210 w 1254307"/>
                <a:gd name="connsiteY9" fmla="*/ 221958 h 298698"/>
                <a:gd name="connsiteX10" fmla="*/ 1219300 w 1254307"/>
                <a:gd name="connsiteY10" fmla="*/ 250262 h 298698"/>
                <a:gd name="connsiteX11" fmla="*/ 1236059 w 1254307"/>
                <a:gd name="connsiteY11" fmla="*/ 244676 h 298698"/>
                <a:gd name="connsiteX12" fmla="*/ 1236804 w 1254307"/>
                <a:gd name="connsiteY12" fmla="*/ 244303 h 298698"/>
                <a:gd name="connsiteX13" fmla="*/ 1237176 w 1254307"/>
                <a:gd name="connsiteY13" fmla="*/ 196634 h 298698"/>
                <a:gd name="connsiteX14" fmla="*/ 1236804 w 1254307"/>
                <a:gd name="connsiteY14" fmla="*/ 196262 h 298698"/>
                <a:gd name="connsiteX15" fmla="*/ 1221535 w 1254307"/>
                <a:gd name="connsiteY15" fmla="*/ 191793 h 298698"/>
                <a:gd name="connsiteX16" fmla="*/ 850239 w 1254307"/>
                <a:gd name="connsiteY16" fmla="*/ 191793 h 298698"/>
                <a:gd name="connsiteX17" fmla="*/ 827521 w 1254307"/>
                <a:gd name="connsiteY17" fmla="*/ 220841 h 298698"/>
                <a:gd name="connsiteX18" fmla="*/ 850983 w 1254307"/>
                <a:gd name="connsiteY18" fmla="*/ 250634 h 298698"/>
                <a:gd name="connsiteX19" fmla="*/ 873328 w 1254307"/>
                <a:gd name="connsiteY19" fmla="*/ 221586 h 298698"/>
                <a:gd name="connsiteX20" fmla="*/ 850239 w 1254307"/>
                <a:gd name="connsiteY20" fmla="*/ 191793 h 298698"/>
                <a:gd name="connsiteX21" fmla="*/ 761232 w 1254307"/>
                <a:gd name="connsiteY21" fmla="*/ 191793 h 298698"/>
                <a:gd name="connsiteX22" fmla="*/ 735907 w 1254307"/>
                <a:gd name="connsiteY22" fmla="*/ 221213 h 298698"/>
                <a:gd name="connsiteX23" fmla="*/ 758625 w 1254307"/>
                <a:gd name="connsiteY23" fmla="*/ 248772 h 298698"/>
                <a:gd name="connsiteX24" fmla="*/ 776500 w 1254307"/>
                <a:gd name="connsiteY24" fmla="*/ 242813 h 298698"/>
                <a:gd name="connsiteX25" fmla="*/ 776500 w 1254307"/>
                <a:gd name="connsiteY25" fmla="*/ 195144 h 298698"/>
                <a:gd name="connsiteX26" fmla="*/ 776128 w 1254307"/>
                <a:gd name="connsiteY26" fmla="*/ 194772 h 298698"/>
                <a:gd name="connsiteX27" fmla="*/ 761232 w 1254307"/>
                <a:gd name="connsiteY27" fmla="*/ 191793 h 298698"/>
                <a:gd name="connsiteX28" fmla="*/ 611893 w 1254307"/>
                <a:gd name="connsiteY28" fmla="*/ 190675 h 298698"/>
                <a:gd name="connsiteX29" fmla="*/ 589549 w 1254307"/>
                <a:gd name="connsiteY29" fmla="*/ 213020 h 298698"/>
                <a:gd name="connsiteX30" fmla="*/ 589549 w 1254307"/>
                <a:gd name="connsiteY30" fmla="*/ 213765 h 298698"/>
                <a:gd name="connsiteX31" fmla="*/ 630514 w 1254307"/>
                <a:gd name="connsiteY31" fmla="*/ 213765 h 298698"/>
                <a:gd name="connsiteX32" fmla="*/ 630514 w 1254307"/>
                <a:gd name="connsiteY32" fmla="*/ 213020 h 298698"/>
                <a:gd name="connsiteX33" fmla="*/ 611893 w 1254307"/>
                <a:gd name="connsiteY33" fmla="*/ 190675 h 298698"/>
                <a:gd name="connsiteX34" fmla="*/ 467770 w 1254307"/>
                <a:gd name="connsiteY34" fmla="*/ 178014 h 298698"/>
                <a:gd name="connsiteX35" fmla="*/ 493839 w 1254307"/>
                <a:gd name="connsiteY35" fmla="*/ 185090 h 298698"/>
                <a:gd name="connsiteX36" fmla="*/ 487880 w 1254307"/>
                <a:gd name="connsiteY36" fmla="*/ 195890 h 298698"/>
                <a:gd name="connsiteX37" fmla="*/ 468887 w 1254307"/>
                <a:gd name="connsiteY37" fmla="*/ 190676 h 298698"/>
                <a:gd name="connsiteX38" fmla="*/ 454735 w 1254307"/>
                <a:gd name="connsiteY38" fmla="*/ 201104 h 298698"/>
                <a:gd name="connsiteX39" fmla="*/ 469632 w 1254307"/>
                <a:gd name="connsiteY39" fmla="*/ 213766 h 298698"/>
                <a:gd name="connsiteX40" fmla="*/ 470749 w 1254307"/>
                <a:gd name="connsiteY40" fmla="*/ 214138 h 298698"/>
                <a:gd name="connsiteX41" fmla="*/ 494956 w 1254307"/>
                <a:gd name="connsiteY41" fmla="*/ 239835 h 298698"/>
                <a:gd name="connsiteX42" fmla="*/ 464046 w 1254307"/>
                <a:gd name="connsiteY42" fmla="*/ 264787 h 298698"/>
                <a:gd name="connsiteX43" fmla="*/ 434625 w 1254307"/>
                <a:gd name="connsiteY43" fmla="*/ 256593 h 298698"/>
                <a:gd name="connsiteX44" fmla="*/ 440584 w 1254307"/>
                <a:gd name="connsiteY44" fmla="*/ 245421 h 298698"/>
                <a:gd name="connsiteX45" fmla="*/ 462184 w 1254307"/>
                <a:gd name="connsiteY45" fmla="*/ 251752 h 298698"/>
                <a:gd name="connsiteX46" fmla="*/ 477453 w 1254307"/>
                <a:gd name="connsiteY46" fmla="*/ 240580 h 298698"/>
                <a:gd name="connsiteX47" fmla="*/ 461811 w 1254307"/>
                <a:gd name="connsiteY47" fmla="*/ 227545 h 298698"/>
                <a:gd name="connsiteX48" fmla="*/ 459204 w 1254307"/>
                <a:gd name="connsiteY48" fmla="*/ 226428 h 298698"/>
                <a:gd name="connsiteX49" fmla="*/ 437604 w 1254307"/>
                <a:gd name="connsiteY49" fmla="*/ 202221 h 298698"/>
                <a:gd name="connsiteX50" fmla="*/ 467770 w 1254307"/>
                <a:gd name="connsiteY50" fmla="*/ 178014 h 298698"/>
                <a:gd name="connsiteX51" fmla="*/ 1134762 w 1254307"/>
                <a:gd name="connsiteY51" fmla="*/ 177641 h 298698"/>
                <a:gd name="connsiteX52" fmla="*/ 1155245 w 1254307"/>
                <a:gd name="connsiteY52" fmla="*/ 185089 h 298698"/>
                <a:gd name="connsiteX53" fmla="*/ 1163438 w 1254307"/>
                <a:gd name="connsiteY53" fmla="*/ 215627 h 298698"/>
                <a:gd name="connsiteX54" fmla="*/ 1163438 w 1254307"/>
                <a:gd name="connsiteY54" fmla="*/ 262551 h 298698"/>
                <a:gd name="connsiteX55" fmla="*/ 1146307 w 1254307"/>
                <a:gd name="connsiteY55" fmla="*/ 262551 h 298698"/>
                <a:gd name="connsiteX56" fmla="*/ 1146307 w 1254307"/>
                <a:gd name="connsiteY56" fmla="*/ 217489 h 298698"/>
                <a:gd name="connsiteX57" fmla="*/ 1142210 w 1254307"/>
                <a:gd name="connsiteY57" fmla="*/ 196262 h 298698"/>
                <a:gd name="connsiteX58" fmla="*/ 1131038 w 1254307"/>
                <a:gd name="connsiteY58" fmla="*/ 192538 h 298698"/>
                <a:gd name="connsiteX59" fmla="*/ 1112045 w 1254307"/>
                <a:gd name="connsiteY59" fmla="*/ 198869 h 298698"/>
                <a:gd name="connsiteX60" fmla="*/ 1111672 w 1254307"/>
                <a:gd name="connsiteY60" fmla="*/ 199241 h 298698"/>
                <a:gd name="connsiteX61" fmla="*/ 1111672 w 1254307"/>
                <a:gd name="connsiteY61" fmla="*/ 262924 h 298698"/>
                <a:gd name="connsiteX62" fmla="*/ 1094169 w 1254307"/>
                <a:gd name="connsiteY62" fmla="*/ 262924 h 298698"/>
                <a:gd name="connsiteX63" fmla="*/ 1094169 w 1254307"/>
                <a:gd name="connsiteY63" fmla="*/ 180248 h 298698"/>
                <a:gd name="connsiteX64" fmla="*/ 1109066 w 1254307"/>
                <a:gd name="connsiteY64" fmla="*/ 180248 h 298698"/>
                <a:gd name="connsiteX65" fmla="*/ 1109066 w 1254307"/>
                <a:gd name="connsiteY65" fmla="*/ 187324 h 298698"/>
                <a:gd name="connsiteX66" fmla="*/ 1110183 w 1254307"/>
                <a:gd name="connsiteY66" fmla="*/ 186207 h 298698"/>
                <a:gd name="connsiteX67" fmla="*/ 1134762 w 1254307"/>
                <a:gd name="connsiteY67" fmla="*/ 177641 h 298698"/>
                <a:gd name="connsiteX68" fmla="*/ 1043148 w 1254307"/>
                <a:gd name="connsiteY68" fmla="*/ 177641 h 298698"/>
                <a:gd name="connsiteX69" fmla="*/ 1068845 w 1254307"/>
                <a:gd name="connsiteY69" fmla="*/ 186207 h 298698"/>
                <a:gd name="connsiteX70" fmla="*/ 1074804 w 1254307"/>
                <a:gd name="connsiteY70" fmla="*/ 211531 h 298698"/>
                <a:gd name="connsiteX71" fmla="*/ 1074804 w 1254307"/>
                <a:gd name="connsiteY71" fmla="*/ 262924 h 298698"/>
                <a:gd name="connsiteX72" fmla="*/ 1059907 w 1254307"/>
                <a:gd name="connsiteY72" fmla="*/ 262924 h 298698"/>
                <a:gd name="connsiteX73" fmla="*/ 1059907 w 1254307"/>
                <a:gd name="connsiteY73" fmla="*/ 255848 h 298698"/>
                <a:gd name="connsiteX74" fmla="*/ 1058790 w 1254307"/>
                <a:gd name="connsiteY74" fmla="*/ 256593 h 298698"/>
                <a:gd name="connsiteX75" fmla="*/ 1034583 w 1254307"/>
                <a:gd name="connsiteY75" fmla="*/ 264414 h 298698"/>
                <a:gd name="connsiteX76" fmla="*/ 1008514 w 1254307"/>
                <a:gd name="connsiteY76" fmla="*/ 238717 h 298698"/>
                <a:gd name="connsiteX77" fmla="*/ 1055066 w 1254307"/>
                <a:gd name="connsiteY77" fmla="*/ 210041 h 298698"/>
                <a:gd name="connsiteX78" fmla="*/ 1058790 w 1254307"/>
                <a:gd name="connsiteY78" fmla="*/ 210041 h 298698"/>
                <a:gd name="connsiteX79" fmla="*/ 1058790 w 1254307"/>
                <a:gd name="connsiteY79" fmla="*/ 205945 h 298698"/>
                <a:gd name="connsiteX80" fmla="*/ 1055810 w 1254307"/>
                <a:gd name="connsiteY80" fmla="*/ 194772 h 298698"/>
                <a:gd name="connsiteX81" fmla="*/ 1041659 w 1254307"/>
                <a:gd name="connsiteY81" fmla="*/ 190676 h 298698"/>
                <a:gd name="connsiteX82" fmla="*/ 1019314 w 1254307"/>
                <a:gd name="connsiteY82" fmla="*/ 197007 h 298698"/>
                <a:gd name="connsiteX83" fmla="*/ 1013355 w 1254307"/>
                <a:gd name="connsiteY83" fmla="*/ 186207 h 298698"/>
                <a:gd name="connsiteX84" fmla="*/ 1043148 w 1254307"/>
                <a:gd name="connsiteY84" fmla="*/ 177641 h 298698"/>
                <a:gd name="connsiteX85" fmla="*/ 851356 w 1254307"/>
                <a:gd name="connsiteY85" fmla="*/ 177641 h 298698"/>
                <a:gd name="connsiteX86" fmla="*/ 891204 w 1254307"/>
                <a:gd name="connsiteY86" fmla="*/ 220469 h 298698"/>
                <a:gd name="connsiteX87" fmla="*/ 849866 w 1254307"/>
                <a:gd name="connsiteY87" fmla="*/ 264413 h 298698"/>
                <a:gd name="connsiteX88" fmla="*/ 810018 w 1254307"/>
                <a:gd name="connsiteY88" fmla="*/ 221586 h 298698"/>
                <a:gd name="connsiteX89" fmla="*/ 851356 w 1254307"/>
                <a:gd name="connsiteY89" fmla="*/ 177641 h 298698"/>
                <a:gd name="connsiteX90" fmla="*/ 761604 w 1254307"/>
                <a:gd name="connsiteY90" fmla="*/ 177641 h 298698"/>
                <a:gd name="connsiteX91" fmla="*/ 793631 w 1254307"/>
                <a:gd name="connsiteY91" fmla="*/ 185834 h 298698"/>
                <a:gd name="connsiteX92" fmla="*/ 793631 w 1254307"/>
                <a:gd name="connsiteY92" fmla="*/ 259200 h 298698"/>
                <a:gd name="connsiteX93" fmla="*/ 785438 w 1254307"/>
                <a:gd name="connsiteY93" fmla="*/ 288248 h 298698"/>
                <a:gd name="connsiteX94" fmla="*/ 756390 w 1254307"/>
                <a:gd name="connsiteY94" fmla="*/ 298675 h 298698"/>
                <a:gd name="connsiteX95" fmla="*/ 721756 w 1254307"/>
                <a:gd name="connsiteY95" fmla="*/ 287503 h 298698"/>
                <a:gd name="connsiteX96" fmla="*/ 728832 w 1254307"/>
                <a:gd name="connsiteY96" fmla="*/ 276331 h 298698"/>
                <a:gd name="connsiteX97" fmla="*/ 754528 w 1254307"/>
                <a:gd name="connsiteY97" fmla="*/ 284524 h 298698"/>
                <a:gd name="connsiteX98" fmla="*/ 770914 w 1254307"/>
                <a:gd name="connsiteY98" fmla="*/ 279682 h 298698"/>
                <a:gd name="connsiteX99" fmla="*/ 776873 w 1254307"/>
                <a:gd name="connsiteY99" fmla="*/ 259944 h 298698"/>
                <a:gd name="connsiteX100" fmla="*/ 776873 w 1254307"/>
                <a:gd name="connsiteY100" fmla="*/ 256220 h 298698"/>
                <a:gd name="connsiteX101" fmla="*/ 775756 w 1254307"/>
                <a:gd name="connsiteY101" fmla="*/ 256965 h 298698"/>
                <a:gd name="connsiteX102" fmla="*/ 775011 w 1254307"/>
                <a:gd name="connsiteY102" fmla="*/ 257338 h 298698"/>
                <a:gd name="connsiteX103" fmla="*/ 754901 w 1254307"/>
                <a:gd name="connsiteY103" fmla="*/ 262551 h 298698"/>
                <a:gd name="connsiteX104" fmla="*/ 718404 w 1254307"/>
                <a:gd name="connsiteY104" fmla="*/ 221958 h 298698"/>
                <a:gd name="connsiteX105" fmla="*/ 761604 w 1254307"/>
                <a:gd name="connsiteY105" fmla="*/ 177641 h 298698"/>
                <a:gd name="connsiteX106" fmla="*/ 706487 w 1254307"/>
                <a:gd name="connsiteY106" fmla="*/ 177641 h 298698"/>
                <a:gd name="connsiteX107" fmla="*/ 714680 w 1254307"/>
                <a:gd name="connsiteY107" fmla="*/ 179131 h 298698"/>
                <a:gd name="connsiteX108" fmla="*/ 710583 w 1254307"/>
                <a:gd name="connsiteY108" fmla="*/ 192538 h 298698"/>
                <a:gd name="connsiteX109" fmla="*/ 705370 w 1254307"/>
                <a:gd name="connsiteY109" fmla="*/ 192165 h 298698"/>
                <a:gd name="connsiteX110" fmla="*/ 680418 w 1254307"/>
                <a:gd name="connsiteY110" fmla="*/ 205572 h 298698"/>
                <a:gd name="connsiteX111" fmla="*/ 680418 w 1254307"/>
                <a:gd name="connsiteY111" fmla="*/ 262551 h 298698"/>
                <a:gd name="connsiteX112" fmla="*/ 663287 w 1254307"/>
                <a:gd name="connsiteY112" fmla="*/ 262551 h 298698"/>
                <a:gd name="connsiteX113" fmla="*/ 663287 w 1254307"/>
                <a:gd name="connsiteY113" fmla="*/ 180248 h 298698"/>
                <a:gd name="connsiteX114" fmla="*/ 678184 w 1254307"/>
                <a:gd name="connsiteY114" fmla="*/ 180248 h 298698"/>
                <a:gd name="connsiteX115" fmla="*/ 678184 w 1254307"/>
                <a:gd name="connsiteY115" fmla="*/ 192910 h 298698"/>
                <a:gd name="connsiteX116" fmla="*/ 679673 w 1254307"/>
                <a:gd name="connsiteY116" fmla="*/ 190303 h 298698"/>
                <a:gd name="connsiteX117" fmla="*/ 706487 w 1254307"/>
                <a:gd name="connsiteY117" fmla="*/ 177641 h 298698"/>
                <a:gd name="connsiteX118" fmla="*/ 611521 w 1254307"/>
                <a:gd name="connsiteY118" fmla="*/ 177641 h 298698"/>
                <a:gd name="connsiteX119" fmla="*/ 646900 w 1254307"/>
                <a:gd name="connsiteY119" fmla="*/ 220096 h 298698"/>
                <a:gd name="connsiteX120" fmla="*/ 646528 w 1254307"/>
                <a:gd name="connsiteY120" fmla="*/ 224565 h 298698"/>
                <a:gd name="connsiteX121" fmla="*/ 646528 w 1254307"/>
                <a:gd name="connsiteY121" fmla="*/ 226055 h 298698"/>
                <a:gd name="connsiteX122" fmla="*/ 589549 w 1254307"/>
                <a:gd name="connsiteY122" fmla="*/ 226055 h 298698"/>
                <a:gd name="connsiteX123" fmla="*/ 589549 w 1254307"/>
                <a:gd name="connsiteY123" fmla="*/ 226800 h 298698"/>
                <a:gd name="connsiteX124" fmla="*/ 589549 w 1254307"/>
                <a:gd name="connsiteY124" fmla="*/ 228662 h 298698"/>
                <a:gd name="connsiteX125" fmla="*/ 614128 w 1254307"/>
                <a:gd name="connsiteY125" fmla="*/ 250634 h 298698"/>
                <a:gd name="connsiteX126" fmla="*/ 636845 w 1254307"/>
                <a:gd name="connsiteY126" fmla="*/ 244675 h 298698"/>
                <a:gd name="connsiteX127" fmla="*/ 642804 w 1254307"/>
                <a:gd name="connsiteY127" fmla="*/ 255848 h 298698"/>
                <a:gd name="connsiteX128" fmla="*/ 612638 w 1254307"/>
                <a:gd name="connsiteY128" fmla="*/ 264413 h 298698"/>
                <a:gd name="connsiteX129" fmla="*/ 572790 w 1254307"/>
                <a:gd name="connsiteY129" fmla="*/ 221586 h 298698"/>
                <a:gd name="connsiteX130" fmla="*/ 611521 w 1254307"/>
                <a:gd name="connsiteY130" fmla="*/ 177641 h 298698"/>
                <a:gd name="connsiteX131" fmla="*/ 372060 w 1254307"/>
                <a:gd name="connsiteY131" fmla="*/ 164979 h 298698"/>
                <a:gd name="connsiteX132" fmla="*/ 339287 w 1254307"/>
                <a:gd name="connsiteY132" fmla="*/ 208179 h 298698"/>
                <a:gd name="connsiteX133" fmla="*/ 373177 w 1254307"/>
                <a:gd name="connsiteY133" fmla="*/ 250262 h 298698"/>
                <a:gd name="connsiteX134" fmla="*/ 406322 w 1254307"/>
                <a:gd name="connsiteY134" fmla="*/ 206689 h 298698"/>
                <a:gd name="connsiteX135" fmla="*/ 372060 w 1254307"/>
                <a:gd name="connsiteY135" fmla="*/ 164979 h 298698"/>
                <a:gd name="connsiteX136" fmla="*/ 915038 w 1254307"/>
                <a:gd name="connsiteY136" fmla="*/ 156041 h 298698"/>
                <a:gd name="connsiteX137" fmla="*/ 932541 w 1254307"/>
                <a:gd name="connsiteY137" fmla="*/ 156041 h 298698"/>
                <a:gd name="connsiteX138" fmla="*/ 932541 w 1254307"/>
                <a:gd name="connsiteY138" fmla="*/ 180248 h 298698"/>
                <a:gd name="connsiteX139" fmla="*/ 957121 w 1254307"/>
                <a:gd name="connsiteY139" fmla="*/ 180248 h 298698"/>
                <a:gd name="connsiteX140" fmla="*/ 957121 w 1254307"/>
                <a:gd name="connsiteY140" fmla="*/ 194027 h 298698"/>
                <a:gd name="connsiteX141" fmla="*/ 932541 w 1254307"/>
                <a:gd name="connsiteY141" fmla="*/ 194027 h 298698"/>
                <a:gd name="connsiteX142" fmla="*/ 932541 w 1254307"/>
                <a:gd name="connsiteY142" fmla="*/ 234248 h 298698"/>
                <a:gd name="connsiteX143" fmla="*/ 944459 w 1254307"/>
                <a:gd name="connsiteY143" fmla="*/ 250262 h 298698"/>
                <a:gd name="connsiteX144" fmla="*/ 955259 w 1254307"/>
                <a:gd name="connsiteY144" fmla="*/ 248027 h 298698"/>
                <a:gd name="connsiteX145" fmla="*/ 959728 w 1254307"/>
                <a:gd name="connsiteY145" fmla="*/ 259944 h 298698"/>
                <a:gd name="connsiteX146" fmla="*/ 940735 w 1254307"/>
                <a:gd name="connsiteY146" fmla="*/ 264786 h 298698"/>
                <a:gd name="connsiteX147" fmla="*/ 920997 w 1254307"/>
                <a:gd name="connsiteY147" fmla="*/ 258082 h 298698"/>
                <a:gd name="connsiteX148" fmla="*/ 915038 w 1254307"/>
                <a:gd name="connsiteY148" fmla="*/ 234248 h 298698"/>
                <a:gd name="connsiteX149" fmla="*/ 915038 w 1254307"/>
                <a:gd name="connsiteY149" fmla="*/ 194027 h 298698"/>
                <a:gd name="connsiteX150" fmla="*/ 900514 w 1254307"/>
                <a:gd name="connsiteY150" fmla="*/ 194027 h 298698"/>
                <a:gd name="connsiteX151" fmla="*/ 900514 w 1254307"/>
                <a:gd name="connsiteY151" fmla="*/ 180248 h 298698"/>
                <a:gd name="connsiteX152" fmla="*/ 915038 w 1254307"/>
                <a:gd name="connsiteY152" fmla="*/ 180248 h 298698"/>
                <a:gd name="connsiteX153" fmla="*/ 519163 w 1254307"/>
                <a:gd name="connsiteY153" fmla="*/ 156041 h 298698"/>
                <a:gd name="connsiteX154" fmla="*/ 536667 w 1254307"/>
                <a:gd name="connsiteY154" fmla="*/ 156041 h 298698"/>
                <a:gd name="connsiteX155" fmla="*/ 536667 w 1254307"/>
                <a:gd name="connsiteY155" fmla="*/ 180248 h 298698"/>
                <a:gd name="connsiteX156" fmla="*/ 561246 w 1254307"/>
                <a:gd name="connsiteY156" fmla="*/ 180248 h 298698"/>
                <a:gd name="connsiteX157" fmla="*/ 561246 w 1254307"/>
                <a:gd name="connsiteY157" fmla="*/ 194027 h 298698"/>
                <a:gd name="connsiteX158" fmla="*/ 536667 w 1254307"/>
                <a:gd name="connsiteY158" fmla="*/ 194027 h 298698"/>
                <a:gd name="connsiteX159" fmla="*/ 536667 w 1254307"/>
                <a:gd name="connsiteY159" fmla="*/ 234248 h 298698"/>
                <a:gd name="connsiteX160" fmla="*/ 548956 w 1254307"/>
                <a:gd name="connsiteY160" fmla="*/ 250262 h 298698"/>
                <a:gd name="connsiteX161" fmla="*/ 559756 w 1254307"/>
                <a:gd name="connsiteY161" fmla="*/ 248027 h 298698"/>
                <a:gd name="connsiteX162" fmla="*/ 564225 w 1254307"/>
                <a:gd name="connsiteY162" fmla="*/ 259944 h 298698"/>
                <a:gd name="connsiteX163" fmla="*/ 544860 w 1254307"/>
                <a:gd name="connsiteY163" fmla="*/ 264786 h 298698"/>
                <a:gd name="connsiteX164" fmla="*/ 525122 w 1254307"/>
                <a:gd name="connsiteY164" fmla="*/ 258082 h 298698"/>
                <a:gd name="connsiteX165" fmla="*/ 519163 w 1254307"/>
                <a:gd name="connsiteY165" fmla="*/ 234248 h 298698"/>
                <a:gd name="connsiteX166" fmla="*/ 519163 w 1254307"/>
                <a:gd name="connsiteY166" fmla="*/ 194027 h 298698"/>
                <a:gd name="connsiteX167" fmla="*/ 504639 w 1254307"/>
                <a:gd name="connsiteY167" fmla="*/ 194027 h 298698"/>
                <a:gd name="connsiteX168" fmla="*/ 504639 w 1254307"/>
                <a:gd name="connsiteY168" fmla="*/ 180248 h 298698"/>
                <a:gd name="connsiteX169" fmla="*/ 519163 w 1254307"/>
                <a:gd name="connsiteY169" fmla="*/ 180248 h 298698"/>
                <a:gd name="connsiteX170" fmla="*/ 976114 w 1254307"/>
                <a:gd name="connsiteY170" fmla="*/ 150828 h 298698"/>
                <a:gd name="connsiteX171" fmla="*/ 993617 w 1254307"/>
                <a:gd name="connsiteY171" fmla="*/ 150828 h 298698"/>
                <a:gd name="connsiteX172" fmla="*/ 993617 w 1254307"/>
                <a:gd name="connsiteY172" fmla="*/ 262552 h 298698"/>
                <a:gd name="connsiteX173" fmla="*/ 976114 w 1254307"/>
                <a:gd name="connsiteY173" fmla="*/ 262552 h 298698"/>
                <a:gd name="connsiteX174" fmla="*/ 866252 w 1254307"/>
                <a:gd name="connsiteY174" fmla="*/ 150828 h 298698"/>
                <a:gd name="connsiteX175" fmla="*/ 875935 w 1254307"/>
                <a:gd name="connsiteY175" fmla="*/ 160883 h 298698"/>
                <a:gd name="connsiteX176" fmla="*/ 866252 w 1254307"/>
                <a:gd name="connsiteY176" fmla="*/ 170566 h 298698"/>
                <a:gd name="connsiteX177" fmla="*/ 856569 w 1254307"/>
                <a:gd name="connsiteY177" fmla="*/ 160511 h 298698"/>
                <a:gd name="connsiteX178" fmla="*/ 866252 w 1254307"/>
                <a:gd name="connsiteY178" fmla="*/ 150828 h 298698"/>
                <a:gd name="connsiteX179" fmla="*/ 834597 w 1254307"/>
                <a:gd name="connsiteY179" fmla="*/ 150828 h 298698"/>
                <a:gd name="connsiteX180" fmla="*/ 844652 w 1254307"/>
                <a:gd name="connsiteY180" fmla="*/ 160511 h 298698"/>
                <a:gd name="connsiteX181" fmla="*/ 834969 w 1254307"/>
                <a:gd name="connsiteY181" fmla="*/ 170566 h 298698"/>
                <a:gd name="connsiteX182" fmla="*/ 824914 w 1254307"/>
                <a:gd name="connsiteY182" fmla="*/ 160883 h 298698"/>
                <a:gd name="connsiteX183" fmla="*/ 834597 w 1254307"/>
                <a:gd name="connsiteY183" fmla="*/ 150828 h 298698"/>
                <a:gd name="connsiteX184" fmla="*/ 1254307 w 1254307"/>
                <a:gd name="connsiteY184" fmla="*/ 150455 h 298698"/>
                <a:gd name="connsiteX185" fmla="*/ 1254307 w 1254307"/>
                <a:gd name="connsiteY185" fmla="*/ 262179 h 298698"/>
                <a:gd name="connsiteX186" fmla="*/ 1239410 w 1254307"/>
                <a:gd name="connsiteY186" fmla="*/ 262179 h 298698"/>
                <a:gd name="connsiteX187" fmla="*/ 1239410 w 1254307"/>
                <a:gd name="connsiteY187" fmla="*/ 255476 h 298698"/>
                <a:gd name="connsiteX188" fmla="*/ 1237921 w 1254307"/>
                <a:gd name="connsiteY188" fmla="*/ 256593 h 298698"/>
                <a:gd name="connsiteX189" fmla="*/ 1215576 w 1254307"/>
                <a:gd name="connsiteY189" fmla="*/ 264414 h 298698"/>
                <a:gd name="connsiteX190" fmla="*/ 1178707 w 1254307"/>
                <a:gd name="connsiteY190" fmla="*/ 222331 h 298698"/>
                <a:gd name="connsiteX191" fmla="*/ 1218555 w 1254307"/>
                <a:gd name="connsiteY191" fmla="*/ 177641 h 298698"/>
                <a:gd name="connsiteX192" fmla="*/ 1235686 w 1254307"/>
                <a:gd name="connsiteY192" fmla="*/ 181738 h 298698"/>
                <a:gd name="connsiteX193" fmla="*/ 1236804 w 1254307"/>
                <a:gd name="connsiteY193" fmla="*/ 182483 h 298698"/>
                <a:gd name="connsiteX194" fmla="*/ 1236804 w 1254307"/>
                <a:gd name="connsiteY194" fmla="*/ 181365 h 298698"/>
                <a:gd name="connsiteX195" fmla="*/ 1236804 w 1254307"/>
                <a:gd name="connsiteY195" fmla="*/ 150827 h 298698"/>
                <a:gd name="connsiteX196" fmla="*/ 373177 w 1254307"/>
                <a:gd name="connsiteY196" fmla="*/ 150455 h 298698"/>
                <a:gd name="connsiteX197" fmla="*/ 424942 w 1254307"/>
                <a:gd name="connsiteY197" fmla="*/ 206689 h 298698"/>
                <a:gd name="connsiteX198" fmla="*/ 372804 w 1254307"/>
                <a:gd name="connsiteY198" fmla="*/ 264786 h 298698"/>
                <a:gd name="connsiteX199" fmla="*/ 321039 w 1254307"/>
                <a:gd name="connsiteY199" fmla="*/ 207434 h 298698"/>
                <a:gd name="connsiteX200" fmla="*/ 373177 w 1254307"/>
                <a:gd name="connsiteY200" fmla="*/ 150455 h 298698"/>
                <a:gd name="connsiteX201" fmla="*/ 388446 w 1254307"/>
                <a:gd name="connsiteY201" fmla="*/ 123269 h 298698"/>
                <a:gd name="connsiteX202" fmla="*/ 397756 w 1254307"/>
                <a:gd name="connsiteY202" fmla="*/ 133697 h 298698"/>
                <a:gd name="connsiteX203" fmla="*/ 388446 w 1254307"/>
                <a:gd name="connsiteY203" fmla="*/ 143007 h 298698"/>
                <a:gd name="connsiteX204" fmla="*/ 379135 w 1254307"/>
                <a:gd name="connsiteY204" fmla="*/ 132579 h 298698"/>
                <a:gd name="connsiteX205" fmla="*/ 388446 w 1254307"/>
                <a:gd name="connsiteY205" fmla="*/ 123269 h 298698"/>
                <a:gd name="connsiteX206" fmla="*/ 357163 w 1254307"/>
                <a:gd name="connsiteY206" fmla="*/ 123269 h 298698"/>
                <a:gd name="connsiteX207" fmla="*/ 367218 w 1254307"/>
                <a:gd name="connsiteY207" fmla="*/ 132952 h 298698"/>
                <a:gd name="connsiteX208" fmla="*/ 367218 w 1254307"/>
                <a:gd name="connsiteY208" fmla="*/ 133324 h 298698"/>
                <a:gd name="connsiteX209" fmla="*/ 357535 w 1254307"/>
                <a:gd name="connsiteY209" fmla="*/ 143007 h 298698"/>
                <a:gd name="connsiteX210" fmla="*/ 347480 w 1254307"/>
                <a:gd name="connsiteY210" fmla="*/ 133324 h 298698"/>
                <a:gd name="connsiteX211" fmla="*/ 357163 w 1254307"/>
                <a:gd name="connsiteY211" fmla="*/ 123269 h 298698"/>
                <a:gd name="connsiteX212" fmla="*/ 465535 w 1254307"/>
                <a:gd name="connsiteY212" fmla="*/ 61820 h 298698"/>
                <a:gd name="connsiteX213" fmla="*/ 450266 w 1254307"/>
                <a:gd name="connsiteY213" fmla="*/ 79324 h 298698"/>
                <a:gd name="connsiteX214" fmla="*/ 464045 w 1254307"/>
                <a:gd name="connsiteY214" fmla="*/ 95710 h 298698"/>
                <a:gd name="connsiteX215" fmla="*/ 474845 w 1254307"/>
                <a:gd name="connsiteY215" fmla="*/ 91986 h 298698"/>
                <a:gd name="connsiteX216" fmla="*/ 474845 w 1254307"/>
                <a:gd name="connsiteY216" fmla="*/ 63683 h 298698"/>
                <a:gd name="connsiteX217" fmla="*/ 474473 w 1254307"/>
                <a:gd name="connsiteY217" fmla="*/ 63683 h 298698"/>
                <a:gd name="connsiteX218" fmla="*/ 465535 w 1254307"/>
                <a:gd name="connsiteY218" fmla="*/ 61820 h 298698"/>
                <a:gd name="connsiteX219" fmla="*/ 546721 w 1254307"/>
                <a:gd name="connsiteY219" fmla="*/ 61448 h 298698"/>
                <a:gd name="connsiteX220" fmla="*/ 532942 w 1254307"/>
                <a:gd name="connsiteY220" fmla="*/ 78952 h 298698"/>
                <a:gd name="connsiteX221" fmla="*/ 547094 w 1254307"/>
                <a:gd name="connsiteY221" fmla="*/ 96828 h 298698"/>
                <a:gd name="connsiteX222" fmla="*/ 560873 w 1254307"/>
                <a:gd name="connsiteY222" fmla="*/ 79324 h 298698"/>
                <a:gd name="connsiteX223" fmla="*/ 546721 w 1254307"/>
                <a:gd name="connsiteY223" fmla="*/ 61448 h 298698"/>
                <a:gd name="connsiteX224" fmla="*/ 409301 w 1254307"/>
                <a:gd name="connsiteY224" fmla="*/ 61076 h 298698"/>
                <a:gd name="connsiteX225" fmla="*/ 395894 w 1254307"/>
                <a:gd name="connsiteY225" fmla="*/ 74483 h 298698"/>
                <a:gd name="connsiteX226" fmla="*/ 395894 w 1254307"/>
                <a:gd name="connsiteY226" fmla="*/ 75228 h 298698"/>
                <a:gd name="connsiteX227" fmla="*/ 420474 w 1254307"/>
                <a:gd name="connsiteY227" fmla="*/ 75228 h 298698"/>
                <a:gd name="connsiteX228" fmla="*/ 420474 w 1254307"/>
                <a:gd name="connsiteY228" fmla="*/ 74483 h 298698"/>
                <a:gd name="connsiteX229" fmla="*/ 409301 w 1254307"/>
                <a:gd name="connsiteY229" fmla="*/ 61076 h 298698"/>
                <a:gd name="connsiteX230" fmla="*/ 500170 w 1254307"/>
                <a:gd name="connsiteY230" fmla="*/ 57724 h 298698"/>
                <a:gd name="connsiteX231" fmla="*/ 509853 w 1254307"/>
                <a:gd name="connsiteY231" fmla="*/ 57724 h 298698"/>
                <a:gd name="connsiteX232" fmla="*/ 509853 w 1254307"/>
                <a:gd name="connsiteY232" fmla="*/ 103531 h 298698"/>
                <a:gd name="connsiteX233" fmla="*/ 500170 w 1254307"/>
                <a:gd name="connsiteY233" fmla="*/ 103531 h 298698"/>
                <a:gd name="connsiteX234" fmla="*/ 606680 w 1254307"/>
                <a:gd name="connsiteY234" fmla="*/ 54000 h 298698"/>
                <a:gd name="connsiteX235" fmla="*/ 618597 w 1254307"/>
                <a:gd name="connsiteY235" fmla="*/ 58469 h 298698"/>
                <a:gd name="connsiteX236" fmla="*/ 623439 w 1254307"/>
                <a:gd name="connsiteY236" fmla="*/ 76345 h 298698"/>
                <a:gd name="connsiteX237" fmla="*/ 623439 w 1254307"/>
                <a:gd name="connsiteY237" fmla="*/ 103904 h 298698"/>
                <a:gd name="connsiteX238" fmla="*/ 614128 w 1254307"/>
                <a:gd name="connsiteY238" fmla="*/ 103904 h 298698"/>
                <a:gd name="connsiteX239" fmla="*/ 614128 w 1254307"/>
                <a:gd name="connsiteY239" fmla="*/ 103531 h 298698"/>
                <a:gd name="connsiteX240" fmla="*/ 614128 w 1254307"/>
                <a:gd name="connsiteY240" fmla="*/ 77090 h 298698"/>
                <a:gd name="connsiteX241" fmla="*/ 611521 w 1254307"/>
                <a:gd name="connsiteY241" fmla="*/ 64428 h 298698"/>
                <a:gd name="connsiteX242" fmla="*/ 604818 w 1254307"/>
                <a:gd name="connsiteY242" fmla="*/ 62193 h 298698"/>
                <a:gd name="connsiteX243" fmla="*/ 593273 w 1254307"/>
                <a:gd name="connsiteY243" fmla="*/ 65917 h 298698"/>
                <a:gd name="connsiteX244" fmla="*/ 592901 w 1254307"/>
                <a:gd name="connsiteY244" fmla="*/ 65917 h 298698"/>
                <a:gd name="connsiteX245" fmla="*/ 592901 w 1254307"/>
                <a:gd name="connsiteY245" fmla="*/ 103531 h 298698"/>
                <a:gd name="connsiteX246" fmla="*/ 583218 w 1254307"/>
                <a:gd name="connsiteY246" fmla="*/ 103531 h 298698"/>
                <a:gd name="connsiteX247" fmla="*/ 583218 w 1254307"/>
                <a:gd name="connsiteY247" fmla="*/ 55490 h 298698"/>
                <a:gd name="connsiteX248" fmla="*/ 591411 w 1254307"/>
                <a:gd name="connsiteY248" fmla="*/ 55490 h 298698"/>
                <a:gd name="connsiteX249" fmla="*/ 591411 w 1254307"/>
                <a:gd name="connsiteY249" fmla="*/ 59586 h 298698"/>
                <a:gd name="connsiteX250" fmla="*/ 592528 w 1254307"/>
                <a:gd name="connsiteY250" fmla="*/ 58842 h 298698"/>
                <a:gd name="connsiteX251" fmla="*/ 606680 w 1254307"/>
                <a:gd name="connsiteY251" fmla="*/ 54000 h 298698"/>
                <a:gd name="connsiteX252" fmla="*/ 547094 w 1254307"/>
                <a:gd name="connsiteY252" fmla="*/ 54000 h 298698"/>
                <a:gd name="connsiteX253" fmla="*/ 570183 w 1254307"/>
                <a:gd name="connsiteY253" fmla="*/ 79324 h 298698"/>
                <a:gd name="connsiteX254" fmla="*/ 545977 w 1254307"/>
                <a:gd name="connsiteY254" fmla="*/ 105021 h 298698"/>
                <a:gd name="connsiteX255" fmla="*/ 522887 w 1254307"/>
                <a:gd name="connsiteY255" fmla="*/ 79697 h 298698"/>
                <a:gd name="connsiteX256" fmla="*/ 547094 w 1254307"/>
                <a:gd name="connsiteY256" fmla="*/ 54000 h 298698"/>
                <a:gd name="connsiteX257" fmla="*/ 409301 w 1254307"/>
                <a:gd name="connsiteY257" fmla="*/ 54000 h 298698"/>
                <a:gd name="connsiteX258" fmla="*/ 429412 w 1254307"/>
                <a:gd name="connsiteY258" fmla="*/ 78579 h 298698"/>
                <a:gd name="connsiteX259" fmla="*/ 429412 w 1254307"/>
                <a:gd name="connsiteY259" fmla="*/ 81186 h 298698"/>
                <a:gd name="connsiteX260" fmla="*/ 429412 w 1254307"/>
                <a:gd name="connsiteY260" fmla="*/ 81931 h 298698"/>
                <a:gd name="connsiteX261" fmla="*/ 395894 w 1254307"/>
                <a:gd name="connsiteY261" fmla="*/ 81931 h 298698"/>
                <a:gd name="connsiteX262" fmla="*/ 395894 w 1254307"/>
                <a:gd name="connsiteY262" fmla="*/ 82676 h 298698"/>
                <a:gd name="connsiteX263" fmla="*/ 395894 w 1254307"/>
                <a:gd name="connsiteY263" fmla="*/ 84166 h 298698"/>
                <a:gd name="connsiteX264" fmla="*/ 410791 w 1254307"/>
                <a:gd name="connsiteY264" fmla="*/ 97200 h 298698"/>
                <a:gd name="connsiteX265" fmla="*/ 424198 w 1254307"/>
                <a:gd name="connsiteY265" fmla="*/ 93476 h 298698"/>
                <a:gd name="connsiteX266" fmla="*/ 427549 w 1254307"/>
                <a:gd name="connsiteY266" fmla="*/ 99807 h 298698"/>
                <a:gd name="connsiteX267" fmla="*/ 410046 w 1254307"/>
                <a:gd name="connsiteY267" fmla="*/ 104648 h 298698"/>
                <a:gd name="connsiteX268" fmla="*/ 386584 w 1254307"/>
                <a:gd name="connsiteY268" fmla="*/ 79697 h 298698"/>
                <a:gd name="connsiteX269" fmla="*/ 409301 w 1254307"/>
                <a:gd name="connsiteY269" fmla="*/ 54000 h 298698"/>
                <a:gd name="connsiteX270" fmla="*/ 465907 w 1254307"/>
                <a:gd name="connsiteY270" fmla="*/ 53627 h 298698"/>
                <a:gd name="connsiteX271" fmla="*/ 484528 w 1254307"/>
                <a:gd name="connsiteY271" fmla="*/ 58469 h 298698"/>
                <a:gd name="connsiteX272" fmla="*/ 484528 w 1254307"/>
                <a:gd name="connsiteY272" fmla="*/ 103531 h 298698"/>
                <a:gd name="connsiteX273" fmla="*/ 479686 w 1254307"/>
                <a:gd name="connsiteY273" fmla="*/ 120662 h 298698"/>
                <a:gd name="connsiteX274" fmla="*/ 462555 w 1254307"/>
                <a:gd name="connsiteY274" fmla="*/ 126620 h 298698"/>
                <a:gd name="connsiteX275" fmla="*/ 442445 w 1254307"/>
                <a:gd name="connsiteY275" fmla="*/ 120289 h 298698"/>
                <a:gd name="connsiteX276" fmla="*/ 446542 w 1254307"/>
                <a:gd name="connsiteY276" fmla="*/ 113958 h 298698"/>
                <a:gd name="connsiteX277" fmla="*/ 461438 w 1254307"/>
                <a:gd name="connsiteY277" fmla="*/ 119172 h 298698"/>
                <a:gd name="connsiteX278" fmla="*/ 471121 w 1254307"/>
                <a:gd name="connsiteY278" fmla="*/ 115448 h 298698"/>
                <a:gd name="connsiteX279" fmla="*/ 474845 w 1254307"/>
                <a:gd name="connsiteY279" fmla="*/ 103531 h 298698"/>
                <a:gd name="connsiteX280" fmla="*/ 474845 w 1254307"/>
                <a:gd name="connsiteY280" fmla="*/ 99807 h 298698"/>
                <a:gd name="connsiteX281" fmla="*/ 473728 w 1254307"/>
                <a:gd name="connsiteY281" fmla="*/ 100179 h 298698"/>
                <a:gd name="connsiteX282" fmla="*/ 473355 w 1254307"/>
                <a:gd name="connsiteY282" fmla="*/ 100551 h 298698"/>
                <a:gd name="connsiteX283" fmla="*/ 461811 w 1254307"/>
                <a:gd name="connsiteY283" fmla="*/ 103531 h 298698"/>
                <a:gd name="connsiteX284" fmla="*/ 440583 w 1254307"/>
                <a:gd name="connsiteY284" fmla="*/ 79696 h 298698"/>
                <a:gd name="connsiteX285" fmla="*/ 440583 w 1254307"/>
                <a:gd name="connsiteY285" fmla="*/ 77834 h 298698"/>
                <a:gd name="connsiteX286" fmla="*/ 465907 w 1254307"/>
                <a:gd name="connsiteY286" fmla="*/ 53627 h 298698"/>
                <a:gd name="connsiteX287" fmla="*/ 342267 w 1254307"/>
                <a:gd name="connsiteY287" fmla="*/ 45807 h 298698"/>
                <a:gd name="connsiteX288" fmla="*/ 342267 w 1254307"/>
                <a:gd name="connsiteY288" fmla="*/ 68152 h 298698"/>
                <a:gd name="connsiteX289" fmla="*/ 347480 w 1254307"/>
                <a:gd name="connsiteY289" fmla="*/ 68152 h 298698"/>
                <a:gd name="connsiteX290" fmla="*/ 360887 w 1254307"/>
                <a:gd name="connsiteY290" fmla="*/ 64800 h 298698"/>
                <a:gd name="connsiteX291" fmla="*/ 361260 w 1254307"/>
                <a:gd name="connsiteY291" fmla="*/ 48786 h 298698"/>
                <a:gd name="connsiteX292" fmla="*/ 350832 w 1254307"/>
                <a:gd name="connsiteY292" fmla="*/ 45807 h 298698"/>
                <a:gd name="connsiteX293" fmla="*/ 505011 w 1254307"/>
                <a:gd name="connsiteY293" fmla="*/ 37986 h 298698"/>
                <a:gd name="connsiteX294" fmla="*/ 510969 w 1254307"/>
                <a:gd name="connsiteY294" fmla="*/ 43945 h 298698"/>
                <a:gd name="connsiteX295" fmla="*/ 505011 w 1254307"/>
                <a:gd name="connsiteY295" fmla="*/ 49531 h 298698"/>
                <a:gd name="connsiteX296" fmla="*/ 499052 w 1254307"/>
                <a:gd name="connsiteY296" fmla="*/ 43945 h 298698"/>
                <a:gd name="connsiteX297" fmla="*/ 505011 w 1254307"/>
                <a:gd name="connsiteY297" fmla="*/ 37986 h 298698"/>
                <a:gd name="connsiteX298" fmla="*/ 331839 w 1254307"/>
                <a:gd name="connsiteY298" fmla="*/ 37614 h 298698"/>
                <a:gd name="connsiteX299" fmla="*/ 348970 w 1254307"/>
                <a:gd name="connsiteY299" fmla="*/ 37614 h 298698"/>
                <a:gd name="connsiteX300" fmla="*/ 368708 w 1254307"/>
                <a:gd name="connsiteY300" fmla="*/ 42828 h 298698"/>
                <a:gd name="connsiteX301" fmla="*/ 373922 w 1254307"/>
                <a:gd name="connsiteY301" fmla="*/ 55862 h 298698"/>
                <a:gd name="connsiteX302" fmla="*/ 369825 w 1254307"/>
                <a:gd name="connsiteY302" fmla="*/ 67407 h 298698"/>
                <a:gd name="connsiteX303" fmla="*/ 359025 w 1254307"/>
                <a:gd name="connsiteY303" fmla="*/ 72621 h 298698"/>
                <a:gd name="connsiteX304" fmla="*/ 365729 w 1254307"/>
                <a:gd name="connsiteY304" fmla="*/ 76345 h 298698"/>
                <a:gd name="connsiteX305" fmla="*/ 370198 w 1254307"/>
                <a:gd name="connsiteY305" fmla="*/ 84538 h 298698"/>
                <a:gd name="connsiteX306" fmla="*/ 378391 w 1254307"/>
                <a:gd name="connsiteY306" fmla="*/ 103531 h 298698"/>
                <a:gd name="connsiteX307" fmla="*/ 367591 w 1254307"/>
                <a:gd name="connsiteY307" fmla="*/ 103531 h 298698"/>
                <a:gd name="connsiteX308" fmla="*/ 359770 w 1254307"/>
                <a:gd name="connsiteY308" fmla="*/ 86028 h 298698"/>
                <a:gd name="connsiteX309" fmla="*/ 345246 w 1254307"/>
                <a:gd name="connsiteY309" fmla="*/ 75973 h 298698"/>
                <a:gd name="connsiteX310" fmla="*/ 341894 w 1254307"/>
                <a:gd name="connsiteY310" fmla="*/ 75973 h 298698"/>
                <a:gd name="connsiteX311" fmla="*/ 341894 w 1254307"/>
                <a:gd name="connsiteY311" fmla="*/ 103531 h 298698"/>
                <a:gd name="connsiteX312" fmla="*/ 331839 w 1254307"/>
                <a:gd name="connsiteY312" fmla="*/ 103531 h 298698"/>
                <a:gd name="connsiteX313" fmla="*/ 131481 w 1254307"/>
                <a:gd name="connsiteY313" fmla="*/ 12290 h 298698"/>
                <a:gd name="connsiteX314" fmla="*/ 113605 w 1254307"/>
                <a:gd name="connsiteY314" fmla="*/ 36869 h 298698"/>
                <a:gd name="connsiteX315" fmla="*/ 96846 w 1254307"/>
                <a:gd name="connsiteY315" fmla="*/ 17876 h 298698"/>
                <a:gd name="connsiteX316" fmla="*/ 92377 w 1254307"/>
                <a:gd name="connsiteY316" fmla="*/ 52883 h 298698"/>
                <a:gd name="connsiteX317" fmla="*/ 60722 w 1254307"/>
                <a:gd name="connsiteY317" fmla="*/ 38731 h 298698"/>
                <a:gd name="connsiteX318" fmla="*/ 67798 w 1254307"/>
                <a:gd name="connsiteY318" fmla="*/ 62938 h 298698"/>
                <a:gd name="connsiteX319" fmla="*/ 38005 w 1254307"/>
                <a:gd name="connsiteY319" fmla="*/ 65917 h 298698"/>
                <a:gd name="connsiteX320" fmla="*/ 64446 w 1254307"/>
                <a:gd name="connsiteY320" fmla="*/ 80069 h 298698"/>
                <a:gd name="connsiteX321" fmla="*/ 90888 w 1254307"/>
                <a:gd name="connsiteY321" fmla="*/ 91614 h 298698"/>
                <a:gd name="connsiteX322" fmla="*/ 134460 w 1254307"/>
                <a:gd name="connsiteY322" fmla="*/ 141145 h 298698"/>
                <a:gd name="connsiteX323" fmla="*/ 69288 w 1254307"/>
                <a:gd name="connsiteY323" fmla="*/ 128483 h 298698"/>
                <a:gd name="connsiteX324" fmla="*/ 45826 w 1254307"/>
                <a:gd name="connsiteY324" fmla="*/ 111352 h 298698"/>
                <a:gd name="connsiteX325" fmla="*/ 20874 w 1254307"/>
                <a:gd name="connsiteY325" fmla="*/ 96083 h 298698"/>
                <a:gd name="connsiteX326" fmla="*/ 32791 w 1254307"/>
                <a:gd name="connsiteY326" fmla="*/ 123641 h 298698"/>
                <a:gd name="connsiteX327" fmla="*/ 8957 w 1254307"/>
                <a:gd name="connsiteY327" fmla="*/ 128483 h 298698"/>
                <a:gd name="connsiteX328" fmla="*/ 37260 w 1254307"/>
                <a:gd name="connsiteY328" fmla="*/ 149710 h 298698"/>
                <a:gd name="connsiteX329" fmla="*/ 8957 w 1254307"/>
                <a:gd name="connsiteY329" fmla="*/ 170938 h 298698"/>
                <a:gd name="connsiteX330" fmla="*/ 32791 w 1254307"/>
                <a:gd name="connsiteY330" fmla="*/ 175779 h 298698"/>
                <a:gd name="connsiteX331" fmla="*/ 20874 w 1254307"/>
                <a:gd name="connsiteY331" fmla="*/ 203338 h 298698"/>
                <a:gd name="connsiteX332" fmla="*/ 45453 w 1254307"/>
                <a:gd name="connsiteY332" fmla="*/ 188069 h 298698"/>
                <a:gd name="connsiteX333" fmla="*/ 68915 w 1254307"/>
                <a:gd name="connsiteY333" fmla="*/ 170566 h 298698"/>
                <a:gd name="connsiteX334" fmla="*/ 134088 w 1254307"/>
                <a:gd name="connsiteY334" fmla="*/ 157903 h 298698"/>
                <a:gd name="connsiteX335" fmla="*/ 90515 w 1254307"/>
                <a:gd name="connsiteY335" fmla="*/ 207434 h 298698"/>
                <a:gd name="connsiteX336" fmla="*/ 64074 w 1254307"/>
                <a:gd name="connsiteY336" fmla="*/ 218979 h 298698"/>
                <a:gd name="connsiteX337" fmla="*/ 37633 w 1254307"/>
                <a:gd name="connsiteY337" fmla="*/ 233131 h 298698"/>
                <a:gd name="connsiteX338" fmla="*/ 67426 w 1254307"/>
                <a:gd name="connsiteY338" fmla="*/ 236110 h 298698"/>
                <a:gd name="connsiteX339" fmla="*/ 58860 w 1254307"/>
                <a:gd name="connsiteY339" fmla="*/ 259572 h 298698"/>
                <a:gd name="connsiteX340" fmla="*/ 91260 w 1254307"/>
                <a:gd name="connsiteY340" fmla="*/ 246166 h 298698"/>
                <a:gd name="connsiteX341" fmla="*/ 96102 w 1254307"/>
                <a:gd name="connsiteY341" fmla="*/ 280800 h 298698"/>
                <a:gd name="connsiteX342" fmla="*/ 112488 w 1254307"/>
                <a:gd name="connsiteY342" fmla="*/ 261807 h 298698"/>
                <a:gd name="connsiteX343" fmla="*/ 130364 w 1254307"/>
                <a:gd name="connsiteY343" fmla="*/ 286386 h 298698"/>
                <a:gd name="connsiteX344" fmla="*/ 129619 w 1254307"/>
                <a:gd name="connsiteY344" fmla="*/ 256593 h 298698"/>
                <a:gd name="connsiteX345" fmla="*/ 126639 w 1254307"/>
                <a:gd name="connsiteY345" fmla="*/ 228290 h 298698"/>
                <a:gd name="connsiteX346" fmla="*/ 147867 w 1254307"/>
                <a:gd name="connsiteY346" fmla="*/ 165724 h 298698"/>
                <a:gd name="connsiteX347" fmla="*/ 169095 w 1254307"/>
                <a:gd name="connsiteY347" fmla="*/ 228290 h 298698"/>
                <a:gd name="connsiteX348" fmla="*/ 166115 w 1254307"/>
                <a:gd name="connsiteY348" fmla="*/ 256593 h 298698"/>
                <a:gd name="connsiteX349" fmla="*/ 165370 w 1254307"/>
                <a:gd name="connsiteY349" fmla="*/ 286386 h 298698"/>
                <a:gd name="connsiteX350" fmla="*/ 183246 w 1254307"/>
                <a:gd name="connsiteY350" fmla="*/ 261807 h 298698"/>
                <a:gd name="connsiteX351" fmla="*/ 199632 w 1254307"/>
                <a:gd name="connsiteY351" fmla="*/ 280800 h 298698"/>
                <a:gd name="connsiteX352" fmla="*/ 204474 w 1254307"/>
                <a:gd name="connsiteY352" fmla="*/ 246166 h 298698"/>
                <a:gd name="connsiteX353" fmla="*/ 236874 w 1254307"/>
                <a:gd name="connsiteY353" fmla="*/ 259572 h 298698"/>
                <a:gd name="connsiteX354" fmla="*/ 229053 w 1254307"/>
                <a:gd name="connsiteY354" fmla="*/ 236110 h 298698"/>
                <a:gd name="connsiteX355" fmla="*/ 258846 w 1254307"/>
                <a:gd name="connsiteY355" fmla="*/ 233131 h 298698"/>
                <a:gd name="connsiteX356" fmla="*/ 232405 w 1254307"/>
                <a:gd name="connsiteY356" fmla="*/ 218979 h 298698"/>
                <a:gd name="connsiteX357" fmla="*/ 205963 w 1254307"/>
                <a:gd name="connsiteY357" fmla="*/ 207434 h 298698"/>
                <a:gd name="connsiteX358" fmla="*/ 162391 w 1254307"/>
                <a:gd name="connsiteY358" fmla="*/ 157903 h 298698"/>
                <a:gd name="connsiteX359" fmla="*/ 227563 w 1254307"/>
                <a:gd name="connsiteY359" fmla="*/ 170566 h 298698"/>
                <a:gd name="connsiteX360" fmla="*/ 251025 w 1254307"/>
                <a:gd name="connsiteY360" fmla="*/ 187697 h 298698"/>
                <a:gd name="connsiteX361" fmla="*/ 275977 w 1254307"/>
                <a:gd name="connsiteY361" fmla="*/ 202966 h 298698"/>
                <a:gd name="connsiteX362" fmla="*/ 264060 w 1254307"/>
                <a:gd name="connsiteY362" fmla="*/ 175407 h 298698"/>
                <a:gd name="connsiteX363" fmla="*/ 289384 w 1254307"/>
                <a:gd name="connsiteY363" fmla="*/ 170938 h 298698"/>
                <a:gd name="connsiteX364" fmla="*/ 261081 w 1254307"/>
                <a:gd name="connsiteY364" fmla="*/ 149710 h 298698"/>
                <a:gd name="connsiteX365" fmla="*/ 289384 w 1254307"/>
                <a:gd name="connsiteY365" fmla="*/ 128483 h 298698"/>
                <a:gd name="connsiteX366" fmla="*/ 265550 w 1254307"/>
                <a:gd name="connsiteY366" fmla="*/ 123641 h 298698"/>
                <a:gd name="connsiteX367" fmla="*/ 277467 w 1254307"/>
                <a:gd name="connsiteY367" fmla="*/ 96083 h 298698"/>
                <a:gd name="connsiteX368" fmla="*/ 252515 w 1254307"/>
                <a:gd name="connsiteY368" fmla="*/ 111352 h 298698"/>
                <a:gd name="connsiteX369" fmla="*/ 229053 w 1254307"/>
                <a:gd name="connsiteY369" fmla="*/ 128483 h 298698"/>
                <a:gd name="connsiteX370" fmla="*/ 163881 w 1254307"/>
                <a:gd name="connsiteY370" fmla="*/ 141145 h 298698"/>
                <a:gd name="connsiteX371" fmla="*/ 207453 w 1254307"/>
                <a:gd name="connsiteY371" fmla="*/ 91614 h 298698"/>
                <a:gd name="connsiteX372" fmla="*/ 233894 w 1254307"/>
                <a:gd name="connsiteY372" fmla="*/ 80069 h 298698"/>
                <a:gd name="connsiteX373" fmla="*/ 260336 w 1254307"/>
                <a:gd name="connsiteY373" fmla="*/ 65917 h 298698"/>
                <a:gd name="connsiteX374" fmla="*/ 230543 w 1254307"/>
                <a:gd name="connsiteY374" fmla="*/ 62938 h 298698"/>
                <a:gd name="connsiteX375" fmla="*/ 237619 w 1254307"/>
                <a:gd name="connsiteY375" fmla="*/ 38731 h 298698"/>
                <a:gd name="connsiteX376" fmla="*/ 205963 w 1254307"/>
                <a:gd name="connsiteY376" fmla="*/ 52883 h 298698"/>
                <a:gd name="connsiteX377" fmla="*/ 201495 w 1254307"/>
                <a:gd name="connsiteY377" fmla="*/ 17876 h 298698"/>
                <a:gd name="connsiteX378" fmla="*/ 184363 w 1254307"/>
                <a:gd name="connsiteY378" fmla="*/ 36869 h 298698"/>
                <a:gd name="connsiteX379" fmla="*/ 166488 w 1254307"/>
                <a:gd name="connsiteY379" fmla="*/ 12290 h 298698"/>
                <a:gd name="connsiteX380" fmla="*/ 167232 w 1254307"/>
                <a:gd name="connsiteY380" fmla="*/ 42083 h 298698"/>
                <a:gd name="connsiteX381" fmla="*/ 170212 w 1254307"/>
                <a:gd name="connsiteY381" fmla="*/ 70386 h 298698"/>
                <a:gd name="connsiteX382" fmla="*/ 148984 w 1254307"/>
                <a:gd name="connsiteY382" fmla="*/ 132952 h 298698"/>
                <a:gd name="connsiteX383" fmla="*/ 127757 w 1254307"/>
                <a:gd name="connsiteY383" fmla="*/ 70386 h 298698"/>
                <a:gd name="connsiteX384" fmla="*/ 130736 w 1254307"/>
                <a:gd name="connsiteY384" fmla="*/ 42083 h 298698"/>
                <a:gd name="connsiteX385" fmla="*/ 131481 w 1254307"/>
                <a:gd name="connsiteY385" fmla="*/ 12290 h 298698"/>
                <a:gd name="connsiteX386" fmla="*/ 134833 w 1254307"/>
                <a:gd name="connsiteY386" fmla="*/ 0 h 298698"/>
                <a:gd name="connsiteX387" fmla="*/ 134833 w 1254307"/>
                <a:gd name="connsiteY387" fmla="*/ 67779 h 298698"/>
                <a:gd name="connsiteX388" fmla="*/ 148239 w 1254307"/>
                <a:gd name="connsiteY388" fmla="*/ 107255 h 298698"/>
                <a:gd name="connsiteX389" fmla="*/ 161646 w 1254307"/>
                <a:gd name="connsiteY389" fmla="*/ 67779 h 298698"/>
                <a:gd name="connsiteX390" fmla="*/ 161646 w 1254307"/>
                <a:gd name="connsiteY390" fmla="*/ 0 h 298698"/>
                <a:gd name="connsiteX391" fmla="*/ 184363 w 1254307"/>
                <a:gd name="connsiteY391" fmla="*/ 19738 h 298698"/>
                <a:gd name="connsiteX392" fmla="*/ 202612 w 1254307"/>
                <a:gd name="connsiteY392" fmla="*/ 9310 h 298698"/>
                <a:gd name="connsiteX393" fmla="*/ 214901 w 1254307"/>
                <a:gd name="connsiteY393" fmla="*/ 34634 h 298698"/>
                <a:gd name="connsiteX394" fmla="*/ 242088 w 1254307"/>
                <a:gd name="connsiteY394" fmla="*/ 32400 h 298698"/>
                <a:gd name="connsiteX395" fmla="*/ 242832 w 1254307"/>
                <a:gd name="connsiteY395" fmla="*/ 53255 h 298698"/>
                <a:gd name="connsiteX396" fmla="*/ 271136 w 1254307"/>
                <a:gd name="connsiteY396" fmla="*/ 62938 h 298698"/>
                <a:gd name="connsiteX397" fmla="*/ 212294 w 1254307"/>
                <a:gd name="connsiteY397" fmla="*/ 96828 h 298698"/>
                <a:gd name="connsiteX398" fmla="*/ 184736 w 1254307"/>
                <a:gd name="connsiteY398" fmla="*/ 128110 h 298698"/>
                <a:gd name="connsiteX399" fmla="*/ 226074 w 1254307"/>
                <a:gd name="connsiteY399" fmla="*/ 119917 h 298698"/>
                <a:gd name="connsiteX400" fmla="*/ 284543 w 1254307"/>
                <a:gd name="connsiteY400" fmla="*/ 85655 h 298698"/>
                <a:gd name="connsiteX401" fmla="*/ 279329 w 1254307"/>
                <a:gd name="connsiteY401" fmla="*/ 115448 h 298698"/>
                <a:gd name="connsiteX402" fmla="*/ 296460 w 1254307"/>
                <a:gd name="connsiteY402" fmla="*/ 125876 h 298698"/>
                <a:gd name="connsiteX403" fmla="*/ 280074 w 1254307"/>
                <a:gd name="connsiteY403" fmla="*/ 149338 h 298698"/>
                <a:gd name="connsiteX404" fmla="*/ 296460 w 1254307"/>
                <a:gd name="connsiteY404" fmla="*/ 173172 h 298698"/>
                <a:gd name="connsiteX405" fmla="*/ 279329 w 1254307"/>
                <a:gd name="connsiteY405" fmla="*/ 183600 h 298698"/>
                <a:gd name="connsiteX406" fmla="*/ 284543 w 1254307"/>
                <a:gd name="connsiteY406" fmla="*/ 213393 h 298698"/>
                <a:gd name="connsiteX407" fmla="*/ 226074 w 1254307"/>
                <a:gd name="connsiteY407" fmla="*/ 179131 h 298698"/>
                <a:gd name="connsiteX408" fmla="*/ 184736 w 1254307"/>
                <a:gd name="connsiteY408" fmla="*/ 170938 h 298698"/>
                <a:gd name="connsiteX409" fmla="*/ 212294 w 1254307"/>
                <a:gd name="connsiteY409" fmla="*/ 202221 h 298698"/>
                <a:gd name="connsiteX410" fmla="*/ 271136 w 1254307"/>
                <a:gd name="connsiteY410" fmla="*/ 236110 h 298698"/>
                <a:gd name="connsiteX411" fmla="*/ 243205 w 1254307"/>
                <a:gd name="connsiteY411" fmla="*/ 245793 h 298698"/>
                <a:gd name="connsiteX412" fmla="*/ 243205 w 1254307"/>
                <a:gd name="connsiteY412" fmla="*/ 265903 h 298698"/>
                <a:gd name="connsiteX413" fmla="*/ 214901 w 1254307"/>
                <a:gd name="connsiteY413" fmla="*/ 264041 h 298698"/>
                <a:gd name="connsiteX414" fmla="*/ 202239 w 1254307"/>
                <a:gd name="connsiteY414" fmla="*/ 289366 h 298698"/>
                <a:gd name="connsiteX415" fmla="*/ 184363 w 1254307"/>
                <a:gd name="connsiteY415" fmla="*/ 278938 h 298698"/>
                <a:gd name="connsiteX416" fmla="*/ 161646 w 1254307"/>
                <a:gd name="connsiteY416" fmla="*/ 298676 h 298698"/>
                <a:gd name="connsiteX417" fmla="*/ 161646 w 1254307"/>
                <a:gd name="connsiteY417" fmla="*/ 230897 h 298698"/>
                <a:gd name="connsiteX418" fmla="*/ 148239 w 1254307"/>
                <a:gd name="connsiteY418" fmla="*/ 191421 h 298698"/>
                <a:gd name="connsiteX419" fmla="*/ 134833 w 1254307"/>
                <a:gd name="connsiteY419" fmla="*/ 230897 h 298698"/>
                <a:gd name="connsiteX420" fmla="*/ 134833 w 1254307"/>
                <a:gd name="connsiteY420" fmla="*/ 298676 h 298698"/>
                <a:gd name="connsiteX421" fmla="*/ 112115 w 1254307"/>
                <a:gd name="connsiteY421" fmla="*/ 278938 h 298698"/>
                <a:gd name="connsiteX422" fmla="*/ 94239 w 1254307"/>
                <a:gd name="connsiteY422" fmla="*/ 289366 h 298698"/>
                <a:gd name="connsiteX423" fmla="*/ 81577 w 1254307"/>
                <a:gd name="connsiteY423" fmla="*/ 264041 h 298698"/>
                <a:gd name="connsiteX424" fmla="*/ 53274 w 1254307"/>
                <a:gd name="connsiteY424" fmla="*/ 265903 h 298698"/>
                <a:gd name="connsiteX425" fmla="*/ 53274 w 1254307"/>
                <a:gd name="connsiteY425" fmla="*/ 245793 h 298698"/>
                <a:gd name="connsiteX426" fmla="*/ 25343 w 1254307"/>
                <a:gd name="connsiteY426" fmla="*/ 236110 h 298698"/>
                <a:gd name="connsiteX427" fmla="*/ 84184 w 1254307"/>
                <a:gd name="connsiteY427" fmla="*/ 202221 h 298698"/>
                <a:gd name="connsiteX428" fmla="*/ 111743 w 1254307"/>
                <a:gd name="connsiteY428" fmla="*/ 170938 h 298698"/>
                <a:gd name="connsiteX429" fmla="*/ 70405 w 1254307"/>
                <a:gd name="connsiteY429" fmla="*/ 179131 h 298698"/>
                <a:gd name="connsiteX430" fmla="*/ 11936 w 1254307"/>
                <a:gd name="connsiteY430" fmla="*/ 213393 h 298698"/>
                <a:gd name="connsiteX431" fmla="*/ 17150 w 1254307"/>
                <a:gd name="connsiteY431" fmla="*/ 183600 h 298698"/>
                <a:gd name="connsiteX432" fmla="*/ 19 w 1254307"/>
                <a:gd name="connsiteY432" fmla="*/ 173172 h 298698"/>
                <a:gd name="connsiteX433" fmla="*/ 16405 w 1254307"/>
                <a:gd name="connsiteY433" fmla="*/ 149710 h 298698"/>
                <a:gd name="connsiteX434" fmla="*/ 19 w 1254307"/>
                <a:gd name="connsiteY434" fmla="*/ 126248 h 298698"/>
                <a:gd name="connsiteX435" fmla="*/ 17150 w 1254307"/>
                <a:gd name="connsiteY435" fmla="*/ 115821 h 298698"/>
                <a:gd name="connsiteX436" fmla="*/ 11936 w 1254307"/>
                <a:gd name="connsiteY436" fmla="*/ 86028 h 298698"/>
                <a:gd name="connsiteX437" fmla="*/ 70405 w 1254307"/>
                <a:gd name="connsiteY437" fmla="*/ 120290 h 298698"/>
                <a:gd name="connsiteX438" fmla="*/ 111743 w 1254307"/>
                <a:gd name="connsiteY438" fmla="*/ 128483 h 298698"/>
                <a:gd name="connsiteX439" fmla="*/ 84184 w 1254307"/>
                <a:gd name="connsiteY439" fmla="*/ 97200 h 298698"/>
                <a:gd name="connsiteX440" fmla="*/ 25343 w 1254307"/>
                <a:gd name="connsiteY440" fmla="*/ 63683 h 298698"/>
                <a:gd name="connsiteX441" fmla="*/ 53646 w 1254307"/>
                <a:gd name="connsiteY441" fmla="*/ 53628 h 298698"/>
                <a:gd name="connsiteX442" fmla="*/ 54391 w 1254307"/>
                <a:gd name="connsiteY442" fmla="*/ 32400 h 298698"/>
                <a:gd name="connsiteX443" fmla="*/ 81577 w 1254307"/>
                <a:gd name="connsiteY443" fmla="*/ 34634 h 298698"/>
                <a:gd name="connsiteX444" fmla="*/ 93867 w 1254307"/>
                <a:gd name="connsiteY444" fmla="*/ 9310 h 298698"/>
                <a:gd name="connsiteX445" fmla="*/ 112115 w 1254307"/>
                <a:gd name="connsiteY445" fmla="*/ 19738 h 298698"/>
                <a:gd name="connsiteX446" fmla="*/ 134833 w 1254307"/>
                <a:gd name="connsiteY446" fmla="*/ 0 h 29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Lst>
              <a:rect l="l" t="t" r="r" b="b"/>
              <a:pathLst>
                <a:path w="1254307" h="298698">
                  <a:moveTo>
                    <a:pt x="1053948" y="221958"/>
                  </a:moveTo>
                  <a:cubicBezTo>
                    <a:pt x="1040541" y="221958"/>
                    <a:pt x="1031604" y="224193"/>
                    <a:pt x="1027135" y="228662"/>
                  </a:cubicBezTo>
                  <a:cubicBezTo>
                    <a:pt x="1024900" y="231269"/>
                    <a:pt x="1023411" y="234620"/>
                    <a:pt x="1023783" y="237972"/>
                  </a:cubicBezTo>
                  <a:cubicBezTo>
                    <a:pt x="1023783" y="246165"/>
                    <a:pt x="1030114" y="251379"/>
                    <a:pt x="1039424" y="251379"/>
                  </a:cubicBezTo>
                  <a:cubicBezTo>
                    <a:pt x="1045755" y="251007"/>
                    <a:pt x="1052086" y="249145"/>
                    <a:pt x="1057672" y="245793"/>
                  </a:cubicBezTo>
                  <a:lnTo>
                    <a:pt x="1058417" y="245420"/>
                  </a:lnTo>
                  <a:lnTo>
                    <a:pt x="1058790" y="245048"/>
                  </a:lnTo>
                  <a:lnTo>
                    <a:pt x="1058790" y="221958"/>
                  </a:lnTo>
                  <a:close/>
                  <a:moveTo>
                    <a:pt x="1221535" y="191793"/>
                  </a:moveTo>
                  <a:cubicBezTo>
                    <a:pt x="1205893" y="191793"/>
                    <a:pt x="1196210" y="203710"/>
                    <a:pt x="1196210" y="221958"/>
                  </a:cubicBezTo>
                  <a:cubicBezTo>
                    <a:pt x="1196210" y="238717"/>
                    <a:pt x="1205521" y="250262"/>
                    <a:pt x="1219300" y="250262"/>
                  </a:cubicBezTo>
                  <a:cubicBezTo>
                    <a:pt x="1225259" y="250262"/>
                    <a:pt x="1231217" y="248400"/>
                    <a:pt x="1236059" y="244676"/>
                  </a:cubicBezTo>
                  <a:lnTo>
                    <a:pt x="1236804" y="244303"/>
                  </a:lnTo>
                  <a:lnTo>
                    <a:pt x="1237176" y="196634"/>
                  </a:lnTo>
                  <a:lnTo>
                    <a:pt x="1236804" y="196262"/>
                  </a:lnTo>
                  <a:cubicBezTo>
                    <a:pt x="1232335" y="193283"/>
                    <a:pt x="1227121" y="191793"/>
                    <a:pt x="1221535" y="191793"/>
                  </a:cubicBezTo>
                  <a:close/>
                  <a:moveTo>
                    <a:pt x="850239" y="191793"/>
                  </a:moveTo>
                  <a:cubicBezTo>
                    <a:pt x="836459" y="191793"/>
                    <a:pt x="827521" y="203338"/>
                    <a:pt x="827521" y="220841"/>
                  </a:cubicBezTo>
                  <a:cubicBezTo>
                    <a:pt x="827521" y="238344"/>
                    <a:pt x="837204" y="250634"/>
                    <a:pt x="850983" y="250634"/>
                  </a:cubicBezTo>
                  <a:cubicBezTo>
                    <a:pt x="864763" y="250634"/>
                    <a:pt x="873328" y="239089"/>
                    <a:pt x="873328" y="221586"/>
                  </a:cubicBezTo>
                  <a:cubicBezTo>
                    <a:pt x="873328" y="204082"/>
                    <a:pt x="864018" y="191793"/>
                    <a:pt x="850239" y="191793"/>
                  </a:cubicBezTo>
                  <a:close/>
                  <a:moveTo>
                    <a:pt x="761232" y="191793"/>
                  </a:moveTo>
                  <a:cubicBezTo>
                    <a:pt x="745963" y="191793"/>
                    <a:pt x="735907" y="203710"/>
                    <a:pt x="735907" y="221213"/>
                  </a:cubicBezTo>
                  <a:cubicBezTo>
                    <a:pt x="735907" y="237600"/>
                    <a:pt x="745218" y="248772"/>
                    <a:pt x="758625" y="248772"/>
                  </a:cubicBezTo>
                  <a:cubicBezTo>
                    <a:pt x="764956" y="248772"/>
                    <a:pt x="770914" y="246538"/>
                    <a:pt x="776500" y="242813"/>
                  </a:cubicBezTo>
                  <a:lnTo>
                    <a:pt x="776500" y="195144"/>
                  </a:lnTo>
                  <a:lnTo>
                    <a:pt x="776128" y="194772"/>
                  </a:lnTo>
                  <a:cubicBezTo>
                    <a:pt x="771287" y="192910"/>
                    <a:pt x="766445" y="191793"/>
                    <a:pt x="761232" y="191793"/>
                  </a:cubicBezTo>
                  <a:close/>
                  <a:moveTo>
                    <a:pt x="611893" y="190675"/>
                  </a:moveTo>
                  <a:cubicBezTo>
                    <a:pt x="599976" y="190675"/>
                    <a:pt x="591038" y="199613"/>
                    <a:pt x="589549" y="213020"/>
                  </a:cubicBezTo>
                  <a:lnTo>
                    <a:pt x="589549" y="213765"/>
                  </a:lnTo>
                  <a:lnTo>
                    <a:pt x="630514" y="213765"/>
                  </a:lnTo>
                  <a:lnTo>
                    <a:pt x="630514" y="213020"/>
                  </a:lnTo>
                  <a:cubicBezTo>
                    <a:pt x="630514" y="202593"/>
                    <a:pt x="625673" y="190675"/>
                    <a:pt x="611893" y="190675"/>
                  </a:cubicBezTo>
                  <a:close/>
                  <a:moveTo>
                    <a:pt x="467770" y="178014"/>
                  </a:moveTo>
                  <a:cubicBezTo>
                    <a:pt x="477080" y="177642"/>
                    <a:pt x="486018" y="180249"/>
                    <a:pt x="493839" y="185090"/>
                  </a:cubicBezTo>
                  <a:lnTo>
                    <a:pt x="487880" y="195890"/>
                  </a:lnTo>
                  <a:cubicBezTo>
                    <a:pt x="481921" y="192538"/>
                    <a:pt x="475590" y="190676"/>
                    <a:pt x="468887" y="190676"/>
                  </a:cubicBezTo>
                  <a:cubicBezTo>
                    <a:pt x="458459" y="190676"/>
                    <a:pt x="454735" y="196262"/>
                    <a:pt x="454735" y="201104"/>
                  </a:cubicBezTo>
                  <a:cubicBezTo>
                    <a:pt x="454735" y="207435"/>
                    <a:pt x="461439" y="210414"/>
                    <a:pt x="469632" y="213766"/>
                  </a:cubicBezTo>
                  <a:lnTo>
                    <a:pt x="470749" y="214138"/>
                  </a:lnTo>
                  <a:cubicBezTo>
                    <a:pt x="481921" y="218980"/>
                    <a:pt x="494956" y="224193"/>
                    <a:pt x="494956" y="239835"/>
                  </a:cubicBezTo>
                  <a:cubicBezTo>
                    <a:pt x="494956" y="255476"/>
                    <a:pt x="483039" y="264787"/>
                    <a:pt x="464046" y="264787"/>
                  </a:cubicBezTo>
                  <a:cubicBezTo>
                    <a:pt x="453618" y="264787"/>
                    <a:pt x="443190" y="261807"/>
                    <a:pt x="434625" y="256593"/>
                  </a:cubicBezTo>
                  <a:lnTo>
                    <a:pt x="440584" y="245421"/>
                  </a:lnTo>
                  <a:cubicBezTo>
                    <a:pt x="447287" y="249145"/>
                    <a:pt x="454735" y="251380"/>
                    <a:pt x="462184" y="251752"/>
                  </a:cubicBezTo>
                  <a:cubicBezTo>
                    <a:pt x="471494" y="251752"/>
                    <a:pt x="477453" y="247283"/>
                    <a:pt x="477453" y="240580"/>
                  </a:cubicBezTo>
                  <a:cubicBezTo>
                    <a:pt x="477453" y="233876"/>
                    <a:pt x="471494" y="231642"/>
                    <a:pt x="461811" y="227545"/>
                  </a:cubicBezTo>
                  <a:lnTo>
                    <a:pt x="459204" y="226428"/>
                  </a:lnTo>
                  <a:cubicBezTo>
                    <a:pt x="449894" y="222704"/>
                    <a:pt x="437604" y="217118"/>
                    <a:pt x="437604" y="202221"/>
                  </a:cubicBezTo>
                  <a:cubicBezTo>
                    <a:pt x="437604" y="187324"/>
                    <a:pt x="449894" y="178014"/>
                    <a:pt x="467770" y="178014"/>
                  </a:cubicBezTo>
                  <a:close/>
                  <a:moveTo>
                    <a:pt x="1134762" y="177641"/>
                  </a:moveTo>
                  <a:cubicBezTo>
                    <a:pt x="1142210" y="177269"/>
                    <a:pt x="1149659" y="179876"/>
                    <a:pt x="1155245" y="185089"/>
                  </a:cubicBezTo>
                  <a:cubicBezTo>
                    <a:pt x="1163438" y="193282"/>
                    <a:pt x="1163438" y="203710"/>
                    <a:pt x="1163438" y="215627"/>
                  </a:cubicBezTo>
                  <a:lnTo>
                    <a:pt x="1163438" y="262551"/>
                  </a:lnTo>
                  <a:lnTo>
                    <a:pt x="1146307" y="262551"/>
                  </a:lnTo>
                  <a:lnTo>
                    <a:pt x="1146307" y="217489"/>
                  </a:lnTo>
                  <a:cubicBezTo>
                    <a:pt x="1146307" y="206317"/>
                    <a:pt x="1146307" y="200358"/>
                    <a:pt x="1142210" y="196262"/>
                  </a:cubicBezTo>
                  <a:cubicBezTo>
                    <a:pt x="1139231" y="193655"/>
                    <a:pt x="1135134" y="192165"/>
                    <a:pt x="1131038" y="192538"/>
                  </a:cubicBezTo>
                  <a:cubicBezTo>
                    <a:pt x="1124334" y="192910"/>
                    <a:pt x="1117631" y="195144"/>
                    <a:pt x="1112045" y="198869"/>
                  </a:cubicBezTo>
                  <a:lnTo>
                    <a:pt x="1111672" y="199241"/>
                  </a:lnTo>
                  <a:lnTo>
                    <a:pt x="1111672" y="262924"/>
                  </a:lnTo>
                  <a:lnTo>
                    <a:pt x="1094169" y="262924"/>
                  </a:lnTo>
                  <a:lnTo>
                    <a:pt x="1094169" y="180248"/>
                  </a:lnTo>
                  <a:lnTo>
                    <a:pt x="1109066" y="180248"/>
                  </a:lnTo>
                  <a:lnTo>
                    <a:pt x="1109066" y="187324"/>
                  </a:lnTo>
                  <a:lnTo>
                    <a:pt x="1110183" y="186207"/>
                  </a:lnTo>
                  <a:cubicBezTo>
                    <a:pt x="1117259" y="180993"/>
                    <a:pt x="1125824" y="178013"/>
                    <a:pt x="1134762" y="177641"/>
                  </a:cubicBezTo>
                  <a:close/>
                  <a:moveTo>
                    <a:pt x="1043148" y="177641"/>
                  </a:moveTo>
                  <a:cubicBezTo>
                    <a:pt x="1055066" y="177641"/>
                    <a:pt x="1062886" y="180248"/>
                    <a:pt x="1068845" y="186207"/>
                  </a:cubicBezTo>
                  <a:cubicBezTo>
                    <a:pt x="1075176" y="192538"/>
                    <a:pt x="1075176" y="200731"/>
                    <a:pt x="1074804" y="211531"/>
                  </a:cubicBezTo>
                  <a:lnTo>
                    <a:pt x="1074804" y="262924"/>
                  </a:lnTo>
                  <a:lnTo>
                    <a:pt x="1059907" y="262924"/>
                  </a:lnTo>
                  <a:lnTo>
                    <a:pt x="1059907" y="255848"/>
                  </a:lnTo>
                  <a:lnTo>
                    <a:pt x="1058790" y="256593"/>
                  </a:lnTo>
                  <a:cubicBezTo>
                    <a:pt x="1051714" y="261434"/>
                    <a:pt x="1043148" y="264414"/>
                    <a:pt x="1034583" y="264414"/>
                  </a:cubicBezTo>
                  <a:cubicBezTo>
                    <a:pt x="1018942" y="264414"/>
                    <a:pt x="1008514" y="253986"/>
                    <a:pt x="1008514" y="238717"/>
                  </a:cubicBezTo>
                  <a:cubicBezTo>
                    <a:pt x="1008514" y="219724"/>
                    <a:pt x="1024155" y="210041"/>
                    <a:pt x="1055066" y="210041"/>
                  </a:cubicBezTo>
                  <a:lnTo>
                    <a:pt x="1058790" y="210041"/>
                  </a:lnTo>
                  <a:lnTo>
                    <a:pt x="1058790" y="205945"/>
                  </a:lnTo>
                  <a:cubicBezTo>
                    <a:pt x="1058790" y="200731"/>
                    <a:pt x="1058790" y="197751"/>
                    <a:pt x="1055810" y="194772"/>
                  </a:cubicBezTo>
                  <a:cubicBezTo>
                    <a:pt x="1052831" y="191793"/>
                    <a:pt x="1048735" y="190676"/>
                    <a:pt x="1041659" y="190676"/>
                  </a:cubicBezTo>
                  <a:cubicBezTo>
                    <a:pt x="1033838" y="191048"/>
                    <a:pt x="1026017" y="193282"/>
                    <a:pt x="1019314" y="197007"/>
                  </a:cubicBezTo>
                  <a:lnTo>
                    <a:pt x="1013355" y="186207"/>
                  </a:lnTo>
                  <a:cubicBezTo>
                    <a:pt x="1021921" y="180248"/>
                    <a:pt x="1032348" y="177269"/>
                    <a:pt x="1043148" y="177641"/>
                  </a:cubicBezTo>
                  <a:close/>
                  <a:moveTo>
                    <a:pt x="851356" y="177641"/>
                  </a:moveTo>
                  <a:cubicBezTo>
                    <a:pt x="875190" y="177641"/>
                    <a:pt x="891204" y="194027"/>
                    <a:pt x="891204" y="220469"/>
                  </a:cubicBezTo>
                  <a:cubicBezTo>
                    <a:pt x="891204" y="246910"/>
                    <a:pt x="874446" y="264413"/>
                    <a:pt x="849866" y="264413"/>
                  </a:cubicBezTo>
                  <a:cubicBezTo>
                    <a:pt x="826032" y="264413"/>
                    <a:pt x="810018" y="248027"/>
                    <a:pt x="810018" y="221586"/>
                  </a:cubicBezTo>
                  <a:cubicBezTo>
                    <a:pt x="810018" y="195144"/>
                    <a:pt x="826777" y="177641"/>
                    <a:pt x="851356" y="177641"/>
                  </a:cubicBezTo>
                  <a:close/>
                  <a:moveTo>
                    <a:pt x="761604" y="177641"/>
                  </a:moveTo>
                  <a:cubicBezTo>
                    <a:pt x="772776" y="178013"/>
                    <a:pt x="783576" y="180620"/>
                    <a:pt x="793631" y="185834"/>
                  </a:cubicBezTo>
                  <a:lnTo>
                    <a:pt x="793631" y="259200"/>
                  </a:lnTo>
                  <a:cubicBezTo>
                    <a:pt x="793631" y="271862"/>
                    <a:pt x="793259" y="280055"/>
                    <a:pt x="785438" y="288248"/>
                  </a:cubicBezTo>
                  <a:cubicBezTo>
                    <a:pt x="778735" y="295324"/>
                    <a:pt x="769052" y="298675"/>
                    <a:pt x="756390" y="298675"/>
                  </a:cubicBezTo>
                  <a:cubicBezTo>
                    <a:pt x="744101" y="299048"/>
                    <a:pt x="731811" y="294951"/>
                    <a:pt x="721756" y="287503"/>
                  </a:cubicBezTo>
                  <a:lnTo>
                    <a:pt x="728832" y="276331"/>
                  </a:lnTo>
                  <a:cubicBezTo>
                    <a:pt x="736652" y="281544"/>
                    <a:pt x="745590" y="284524"/>
                    <a:pt x="754528" y="284524"/>
                  </a:cubicBezTo>
                  <a:cubicBezTo>
                    <a:pt x="760487" y="284896"/>
                    <a:pt x="766073" y="283407"/>
                    <a:pt x="770914" y="279682"/>
                  </a:cubicBezTo>
                  <a:cubicBezTo>
                    <a:pt x="776500" y="274841"/>
                    <a:pt x="776873" y="268138"/>
                    <a:pt x="776873" y="259944"/>
                  </a:cubicBezTo>
                  <a:lnTo>
                    <a:pt x="776873" y="256220"/>
                  </a:lnTo>
                  <a:lnTo>
                    <a:pt x="775756" y="256965"/>
                  </a:lnTo>
                  <a:lnTo>
                    <a:pt x="775011" y="257338"/>
                  </a:lnTo>
                  <a:cubicBezTo>
                    <a:pt x="769052" y="260689"/>
                    <a:pt x="761976" y="262551"/>
                    <a:pt x="754901" y="262551"/>
                  </a:cubicBezTo>
                  <a:cubicBezTo>
                    <a:pt x="729949" y="262551"/>
                    <a:pt x="718404" y="241324"/>
                    <a:pt x="718404" y="221958"/>
                  </a:cubicBezTo>
                  <a:cubicBezTo>
                    <a:pt x="718404" y="196262"/>
                    <a:pt x="736652" y="177641"/>
                    <a:pt x="761604" y="177641"/>
                  </a:cubicBezTo>
                  <a:close/>
                  <a:moveTo>
                    <a:pt x="706487" y="177641"/>
                  </a:moveTo>
                  <a:cubicBezTo>
                    <a:pt x="709466" y="177641"/>
                    <a:pt x="712073" y="178013"/>
                    <a:pt x="714680" y="179131"/>
                  </a:cubicBezTo>
                  <a:lnTo>
                    <a:pt x="710583" y="192538"/>
                  </a:lnTo>
                  <a:cubicBezTo>
                    <a:pt x="708721" y="192165"/>
                    <a:pt x="707232" y="192165"/>
                    <a:pt x="705370" y="192165"/>
                  </a:cubicBezTo>
                  <a:cubicBezTo>
                    <a:pt x="695315" y="192165"/>
                    <a:pt x="686004" y="197007"/>
                    <a:pt x="680418" y="205572"/>
                  </a:cubicBezTo>
                  <a:lnTo>
                    <a:pt x="680418" y="262551"/>
                  </a:lnTo>
                  <a:lnTo>
                    <a:pt x="663287" y="262551"/>
                  </a:lnTo>
                  <a:lnTo>
                    <a:pt x="663287" y="180248"/>
                  </a:lnTo>
                  <a:lnTo>
                    <a:pt x="678184" y="180248"/>
                  </a:lnTo>
                  <a:lnTo>
                    <a:pt x="678184" y="192910"/>
                  </a:lnTo>
                  <a:lnTo>
                    <a:pt x="679673" y="190303"/>
                  </a:lnTo>
                  <a:cubicBezTo>
                    <a:pt x="686377" y="182110"/>
                    <a:pt x="696059" y="177641"/>
                    <a:pt x="706487" y="177641"/>
                  </a:cubicBezTo>
                  <a:close/>
                  <a:moveTo>
                    <a:pt x="611521" y="177641"/>
                  </a:moveTo>
                  <a:cubicBezTo>
                    <a:pt x="633866" y="177641"/>
                    <a:pt x="646900" y="193655"/>
                    <a:pt x="646900" y="220096"/>
                  </a:cubicBezTo>
                  <a:cubicBezTo>
                    <a:pt x="646900" y="221586"/>
                    <a:pt x="646528" y="223448"/>
                    <a:pt x="646528" y="224565"/>
                  </a:cubicBezTo>
                  <a:cubicBezTo>
                    <a:pt x="646528" y="224938"/>
                    <a:pt x="646528" y="225682"/>
                    <a:pt x="646528" y="226055"/>
                  </a:cubicBezTo>
                  <a:lnTo>
                    <a:pt x="589549" y="226055"/>
                  </a:lnTo>
                  <a:lnTo>
                    <a:pt x="589549" y="226800"/>
                  </a:lnTo>
                  <a:cubicBezTo>
                    <a:pt x="589549" y="227544"/>
                    <a:pt x="589549" y="227917"/>
                    <a:pt x="589549" y="228662"/>
                  </a:cubicBezTo>
                  <a:cubicBezTo>
                    <a:pt x="590293" y="241696"/>
                    <a:pt x="601466" y="251379"/>
                    <a:pt x="614128" y="250634"/>
                  </a:cubicBezTo>
                  <a:cubicBezTo>
                    <a:pt x="621949" y="250634"/>
                    <a:pt x="629769" y="248400"/>
                    <a:pt x="636845" y="244675"/>
                  </a:cubicBezTo>
                  <a:lnTo>
                    <a:pt x="642804" y="255848"/>
                  </a:lnTo>
                  <a:cubicBezTo>
                    <a:pt x="633866" y="261434"/>
                    <a:pt x="623438" y="264413"/>
                    <a:pt x="612638" y="264413"/>
                  </a:cubicBezTo>
                  <a:cubicBezTo>
                    <a:pt x="588431" y="264413"/>
                    <a:pt x="572790" y="247282"/>
                    <a:pt x="572790" y="221586"/>
                  </a:cubicBezTo>
                  <a:cubicBezTo>
                    <a:pt x="572790" y="195889"/>
                    <a:pt x="588804" y="177641"/>
                    <a:pt x="611521" y="177641"/>
                  </a:cubicBezTo>
                  <a:close/>
                  <a:moveTo>
                    <a:pt x="372060" y="164979"/>
                  </a:moveTo>
                  <a:cubicBezTo>
                    <a:pt x="352694" y="164979"/>
                    <a:pt x="339287" y="182483"/>
                    <a:pt x="339287" y="208179"/>
                  </a:cubicBezTo>
                  <a:cubicBezTo>
                    <a:pt x="339287" y="232758"/>
                    <a:pt x="353067" y="250262"/>
                    <a:pt x="373177" y="250262"/>
                  </a:cubicBezTo>
                  <a:cubicBezTo>
                    <a:pt x="397756" y="250262"/>
                    <a:pt x="406322" y="227545"/>
                    <a:pt x="406322" y="206689"/>
                  </a:cubicBezTo>
                  <a:cubicBezTo>
                    <a:pt x="406322" y="182110"/>
                    <a:pt x="391425" y="164979"/>
                    <a:pt x="372060" y="164979"/>
                  </a:cubicBezTo>
                  <a:close/>
                  <a:moveTo>
                    <a:pt x="915038" y="156041"/>
                  </a:moveTo>
                  <a:lnTo>
                    <a:pt x="932541" y="156041"/>
                  </a:lnTo>
                  <a:lnTo>
                    <a:pt x="932541" y="180248"/>
                  </a:lnTo>
                  <a:lnTo>
                    <a:pt x="957121" y="180248"/>
                  </a:lnTo>
                  <a:lnTo>
                    <a:pt x="957121" y="194027"/>
                  </a:lnTo>
                  <a:lnTo>
                    <a:pt x="932541" y="194027"/>
                  </a:lnTo>
                  <a:lnTo>
                    <a:pt x="932541" y="234248"/>
                  </a:lnTo>
                  <a:cubicBezTo>
                    <a:pt x="932541" y="240951"/>
                    <a:pt x="932541" y="250262"/>
                    <a:pt x="944459" y="250262"/>
                  </a:cubicBezTo>
                  <a:cubicBezTo>
                    <a:pt x="948183" y="250262"/>
                    <a:pt x="951907" y="249517"/>
                    <a:pt x="955259" y="248027"/>
                  </a:cubicBezTo>
                  <a:lnTo>
                    <a:pt x="959728" y="259944"/>
                  </a:lnTo>
                  <a:cubicBezTo>
                    <a:pt x="953769" y="263296"/>
                    <a:pt x="947066" y="264786"/>
                    <a:pt x="940735" y="264786"/>
                  </a:cubicBezTo>
                  <a:cubicBezTo>
                    <a:pt x="933659" y="265158"/>
                    <a:pt x="926583" y="262924"/>
                    <a:pt x="920997" y="258082"/>
                  </a:cubicBezTo>
                  <a:cubicBezTo>
                    <a:pt x="915038" y="251751"/>
                    <a:pt x="915038" y="244675"/>
                    <a:pt x="915038" y="234248"/>
                  </a:cubicBezTo>
                  <a:lnTo>
                    <a:pt x="915038" y="194027"/>
                  </a:lnTo>
                  <a:lnTo>
                    <a:pt x="900514" y="194027"/>
                  </a:lnTo>
                  <a:lnTo>
                    <a:pt x="900514" y="180248"/>
                  </a:lnTo>
                  <a:lnTo>
                    <a:pt x="915038" y="180248"/>
                  </a:lnTo>
                  <a:close/>
                  <a:moveTo>
                    <a:pt x="519163" y="156041"/>
                  </a:moveTo>
                  <a:lnTo>
                    <a:pt x="536667" y="156041"/>
                  </a:lnTo>
                  <a:lnTo>
                    <a:pt x="536667" y="180248"/>
                  </a:lnTo>
                  <a:lnTo>
                    <a:pt x="561246" y="180248"/>
                  </a:lnTo>
                  <a:lnTo>
                    <a:pt x="561246" y="194027"/>
                  </a:lnTo>
                  <a:lnTo>
                    <a:pt x="536667" y="194027"/>
                  </a:lnTo>
                  <a:lnTo>
                    <a:pt x="536667" y="234248"/>
                  </a:lnTo>
                  <a:cubicBezTo>
                    <a:pt x="536667" y="240951"/>
                    <a:pt x="536667" y="250262"/>
                    <a:pt x="548956" y="250262"/>
                  </a:cubicBezTo>
                  <a:cubicBezTo>
                    <a:pt x="552680" y="250262"/>
                    <a:pt x="556404" y="249517"/>
                    <a:pt x="559756" y="248027"/>
                  </a:cubicBezTo>
                  <a:lnTo>
                    <a:pt x="564225" y="259944"/>
                  </a:lnTo>
                  <a:cubicBezTo>
                    <a:pt x="557894" y="263296"/>
                    <a:pt x="551563" y="264786"/>
                    <a:pt x="544860" y="264786"/>
                  </a:cubicBezTo>
                  <a:cubicBezTo>
                    <a:pt x="537784" y="265158"/>
                    <a:pt x="530708" y="262924"/>
                    <a:pt x="525122" y="258082"/>
                  </a:cubicBezTo>
                  <a:cubicBezTo>
                    <a:pt x="519163" y="251751"/>
                    <a:pt x="519163" y="244675"/>
                    <a:pt x="519163" y="234248"/>
                  </a:cubicBezTo>
                  <a:lnTo>
                    <a:pt x="519163" y="194027"/>
                  </a:lnTo>
                  <a:lnTo>
                    <a:pt x="504639" y="194027"/>
                  </a:lnTo>
                  <a:lnTo>
                    <a:pt x="504639" y="180248"/>
                  </a:lnTo>
                  <a:lnTo>
                    <a:pt x="519163" y="180248"/>
                  </a:lnTo>
                  <a:close/>
                  <a:moveTo>
                    <a:pt x="976114" y="150828"/>
                  </a:moveTo>
                  <a:lnTo>
                    <a:pt x="993617" y="150828"/>
                  </a:lnTo>
                  <a:lnTo>
                    <a:pt x="993617" y="262552"/>
                  </a:lnTo>
                  <a:lnTo>
                    <a:pt x="976114" y="262552"/>
                  </a:lnTo>
                  <a:close/>
                  <a:moveTo>
                    <a:pt x="866252" y="150828"/>
                  </a:moveTo>
                  <a:cubicBezTo>
                    <a:pt x="871838" y="150828"/>
                    <a:pt x="875935" y="155297"/>
                    <a:pt x="875935" y="160883"/>
                  </a:cubicBezTo>
                  <a:cubicBezTo>
                    <a:pt x="875935" y="166097"/>
                    <a:pt x="871838" y="170566"/>
                    <a:pt x="866252" y="170566"/>
                  </a:cubicBezTo>
                  <a:cubicBezTo>
                    <a:pt x="860666" y="170566"/>
                    <a:pt x="856569" y="166097"/>
                    <a:pt x="856569" y="160511"/>
                  </a:cubicBezTo>
                  <a:cubicBezTo>
                    <a:pt x="856569" y="154925"/>
                    <a:pt x="861038" y="150828"/>
                    <a:pt x="866252" y="150828"/>
                  </a:cubicBezTo>
                  <a:close/>
                  <a:moveTo>
                    <a:pt x="834597" y="150828"/>
                  </a:moveTo>
                  <a:cubicBezTo>
                    <a:pt x="840183" y="150828"/>
                    <a:pt x="844652" y="154925"/>
                    <a:pt x="844652" y="160511"/>
                  </a:cubicBezTo>
                  <a:cubicBezTo>
                    <a:pt x="844652" y="166097"/>
                    <a:pt x="840555" y="170566"/>
                    <a:pt x="834969" y="170566"/>
                  </a:cubicBezTo>
                  <a:cubicBezTo>
                    <a:pt x="829383" y="170566"/>
                    <a:pt x="824914" y="166469"/>
                    <a:pt x="824914" y="160883"/>
                  </a:cubicBezTo>
                  <a:cubicBezTo>
                    <a:pt x="824914" y="155297"/>
                    <a:pt x="829011" y="150828"/>
                    <a:pt x="834597" y="150828"/>
                  </a:cubicBezTo>
                  <a:close/>
                  <a:moveTo>
                    <a:pt x="1254307" y="150455"/>
                  </a:moveTo>
                  <a:lnTo>
                    <a:pt x="1254307" y="262179"/>
                  </a:lnTo>
                  <a:lnTo>
                    <a:pt x="1239410" y="262179"/>
                  </a:lnTo>
                  <a:lnTo>
                    <a:pt x="1239410" y="255476"/>
                  </a:lnTo>
                  <a:lnTo>
                    <a:pt x="1237921" y="256593"/>
                  </a:lnTo>
                  <a:cubicBezTo>
                    <a:pt x="1231590" y="261807"/>
                    <a:pt x="1223769" y="264414"/>
                    <a:pt x="1215576" y="264414"/>
                  </a:cubicBezTo>
                  <a:cubicBezTo>
                    <a:pt x="1193604" y="264414"/>
                    <a:pt x="1178707" y="247655"/>
                    <a:pt x="1178707" y="222331"/>
                  </a:cubicBezTo>
                  <a:cubicBezTo>
                    <a:pt x="1178707" y="197007"/>
                    <a:pt x="1195838" y="177641"/>
                    <a:pt x="1218555" y="177641"/>
                  </a:cubicBezTo>
                  <a:cubicBezTo>
                    <a:pt x="1224514" y="177641"/>
                    <a:pt x="1230472" y="178758"/>
                    <a:pt x="1235686" y="181738"/>
                  </a:cubicBezTo>
                  <a:lnTo>
                    <a:pt x="1236804" y="182483"/>
                  </a:lnTo>
                  <a:lnTo>
                    <a:pt x="1236804" y="181365"/>
                  </a:lnTo>
                  <a:lnTo>
                    <a:pt x="1236804" y="150827"/>
                  </a:lnTo>
                  <a:close/>
                  <a:moveTo>
                    <a:pt x="373177" y="150455"/>
                  </a:moveTo>
                  <a:cubicBezTo>
                    <a:pt x="403342" y="150455"/>
                    <a:pt x="424942" y="173545"/>
                    <a:pt x="424942" y="206689"/>
                  </a:cubicBezTo>
                  <a:cubicBezTo>
                    <a:pt x="424942" y="241696"/>
                    <a:pt x="403342" y="264786"/>
                    <a:pt x="372804" y="264786"/>
                  </a:cubicBezTo>
                  <a:cubicBezTo>
                    <a:pt x="342267" y="264786"/>
                    <a:pt x="321039" y="240952"/>
                    <a:pt x="321039" y="207434"/>
                  </a:cubicBezTo>
                  <a:cubicBezTo>
                    <a:pt x="321039" y="173917"/>
                    <a:pt x="342267" y="150455"/>
                    <a:pt x="373177" y="150455"/>
                  </a:cubicBezTo>
                  <a:close/>
                  <a:moveTo>
                    <a:pt x="388446" y="123269"/>
                  </a:moveTo>
                  <a:cubicBezTo>
                    <a:pt x="394032" y="123641"/>
                    <a:pt x="398129" y="128483"/>
                    <a:pt x="397756" y="133697"/>
                  </a:cubicBezTo>
                  <a:cubicBezTo>
                    <a:pt x="397384" y="138538"/>
                    <a:pt x="393660" y="142635"/>
                    <a:pt x="388446" y="143007"/>
                  </a:cubicBezTo>
                  <a:cubicBezTo>
                    <a:pt x="382860" y="142635"/>
                    <a:pt x="378763" y="137793"/>
                    <a:pt x="379135" y="132579"/>
                  </a:cubicBezTo>
                  <a:cubicBezTo>
                    <a:pt x="379508" y="127738"/>
                    <a:pt x="383604" y="123641"/>
                    <a:pt x="388446" y="123269"/>
                  </a:cubicBezTo>
                  <a:close/>
                  <a:moveTo>
                    <a:pt x="357163" y="123269"/>
                  </a:moveTo>
                  <a:cubicBezTo>
                    <a:pt x="362749" y="123269"/>
                    <a:pt x="367218" y="127366"/>
                    <a:pt x="367218" y="132952"/>
                  </a:cubicBezTo>
                  <a:cubicBezTo>
                    <a:pt x="367218" y="132952"/>
                    <a:pt x="367218" y="132952"/>
                    <a:pt x="367218" y="133324"/>
                  </a:cubicBezTo>
                  <a:cubicBezTo>
                    <a:pt x="367218" y="138538"/>
                    <a:pt x="362749" y="142635"/>
                    <a:pt x="357535" y="143007"/>
                  </a:cubicBezTo>
                  <a:cubicBezTo>
                    <a:pt x="351949" y="143007"/>
                    <a:pt x="347480" y="138910"/>
                    <a:pt x="347480" y="133324"/>
                  </a:cubicBezTo>
                  <a:cubicBezTo>
                    <a:pt x="347480" y="127738"/>
                    <a:pt x="351577" y="123269"/>
                    <a:pt x="357163" y="123269"/>
                  </a:cubicBezTo>
                  <a:close/>
                  <a:moveTo>
                    <a:pt x="465535" y="61820"/>
                  </a:moveTo>
                  <a:cubicBezTo>
                    <a:pt x="456224" y="61820"/>
                    <a:pt x="450266" y="68896"/>
                    <a:pt x="450266" y="79324"/>
                  </a:cubicBezTo>
                  <a:cubicBezTo>
                    <a:pt x="450266" y="89007"/>
                    <a:pt x="455852" y="95710"/>
                    <a:pt x="464045" y="95710"/>
                  </a:cubicBezTo>
                  <a:cubicBezTo>
                    <a:pt x="467769" y="95710"/>
                    <a:pt x="471493" y="94220"/>
                    <a:pt x="474845" y="91986"/>
                  </a:cubicBezTo>
                  <a:lnTo>
                    <a:pt x="474845" y="63683"/>
                  </a:lnTo>
                  <a:lnTo>
                    <a:pt x="474473" y="63683"/>
                  </a:lnTo>
                  <a:cubicBezTo>
                    <a:pt x="471493" y="62565"/>
                    <a:pt x="468514" y="61820"/>
                    <a:pt x="465535" y="61820"/>
                  </a:cubicBezTo>
                  <a:close/>
                  <a:moveTo>
                    <a:pt x="546721" y="61448"/>
                  </a:moveTo>
                  <a:cubicBezTo>
                    <a:pt x="538156" y="61448"/>
                    <a:pt x="532942" y="68524"/>
                    <a:pt x="532942" y="78952"/>
                  </a:cubicBezTo>
                  <a:cubicBezTo>
                    <a:pt x="532942" y="89379"/>
                    <a:pt x="538901" y="96828"/>
                    <a:pt x="547094" y="96828"/>
                  </a:cubicBezTo>
                  <a:cubicBezTo>
                    <a:pt x="555287" y="96828"/>
                    <a:pt x="560873" y="89752"/>
                    <a:pt x="560873" y="79324"/>
                  </a:cubicBezTo>
                  <a:cubicBezTo>
                    <a:pt x="560873" y="68897"/>
                    <a:pt x="555287" y="61448"/>
                    <a:pt x="546721" y="61448"/>
                  </a:cubicBezTo>
                  <a:close/>
                  <a:moveTo>
                    <a:pt x="409301" y="61076"/>
                  </a:moveTo>
                  <a:cubicBezTo>
                    <a:pt x="402225" y="61076"/>
                    <a:pt x="397012" y="66290"/>
                    <a:pt x="395894" y="74483"/>
                  </a:cubicBezTo>
                  <a:lnTo>
                    <a:pt x="395894" y="75228"/>
                  </a:lnTo>
                  <a:lnTo>
                    <a:pt x="420474" y="75228"/>
                  </a:lnTo>
                  <a:lnTo>
                    <a:pt x="420474" y="74483"/>
                  </a:lnTo>
                  <a:cubicBezTo>
                    <a:pt x="420474" y="68152"/>
                    <a:pt x="417494" y="61076"/>
                    <a:pt x="409301" y="61076"/>
                  </a:cubicBezTo>
                  <a:close/>
                  <a:moveTo>
                    <a:pt x="500170" y="57724"/>
                  </a:moveTo>
                  <a:lnTo>
                    <a:pt x="509853" y="57724"/>
                  </a:lnTo>
                  <a:lnTo>
                    <a:pt x="509853" y="103531"/>
                  </a:lnTo>
                  <a:lnTo>
                    <a:pt x="500170" y="103531"/>
                  </a:lnTo>
                  <a:close/>
                  <a:moveTo>
                    <a:pt x="606680" y="54000"/>
                  </a:moveTo>
                  <a:cubicBezTo>
                    <a:pt x="611149" y="53628"/>
                    <a:pt x="615246" y="55490"/>
                    <a:pt x="618597" y="58469"/>
                  </a:cubicBezTo>
                  <a:cubicBezTo>
                    <a:pt x="623439" y="63311"/>
                    <a:pt x="623439" y="69269"/>
                    <a:pt x="623439" y="76345"/>
                  </a:cubicBezTo>
                  <a:lnTo>
                    <a:pt x="623439" y="103904"/>
                  </a:lnTo>
                  <a:lnTo>
                    <a:pt x="614128" y="103904"/>
                  </a:lnTo>
                  <a:lnTo>
                    <a:pt x="614128" y="103531"/>
                  </a:lnTo>
                  <a:lnTo>
                    <a:pt x="614128" y="77090"/>
                  </a:lnTo>
                  <a:cubicBezTo>
                    <a:pt x="614128" y="70386"/>
                    <a:pt x="614128" y="66662"/>
                    <a:pt x="611521" y="64428"/>
                  </a:cubicBezTo>
                  <a:cubicBezTo>
                    <a:pt x="609659" y="62938"/>
                    <a:pt x="607425" y="61821"/>
                    <a:pt x="604818" y="62193"/>
                  </a:cubicBezTo>
                  <a:cubicBezTo>
                    <a:pt x="600721" y="62193"/>
                    <a:pt x="596625" y="63683"/>
                    <a:pt x="593273" y="65917"/>
                  </a:cubicBezTo>
                  <a:lnTo>
                    <a:pt x="592901" y="65917"/>
                  </a:lnTo>
                  <a:lnTo>
                    <a:pt x="592901" y="103531"/>
                  </a:lnTo>
                  <a:lnTo>
                    <a:pt x="583218" y="103531"/>
                  </a:lnTo>
                  <a:lnTo>
                    <a:pt x="583218" y="55490"/>
                  </a:lnTo>
                  <a:lnTo>
                    <a:pt x="591411" y="55490"/>
                  </a:lnTo>
                  <a:lnTo>
                    <a:pt x="591411" y="59586"/>
                  </a:lnTo>
                  <a:lnTo>
                    <a:pt x="592528" y="58842"/>
                  </a:lnTo>
                  <a:cubicBezTo>
                    <a:pt x="596625" y="55862"/>
                    <a:pt x="601839" y="54000"/>
                    <a:pt x="606680" y="54000"/>
                  </a:cubicBezTo>
                  <a:close/>
                  <a:moveTo>
                    <a:pt x="547094" y="54000"/>
                  </a:moveTo>
                  <a:cubicBezTo>
                    <a:pt x="561246" y="54000"/>
                    <a:pt x="570183" y="64055"/>
                    <a:pt x="570183" y="79324"/>
                  </a:cubicBezTo>
                  <a:cubicBezTo>
                    <a:pt x="570183" y="94593"/>
                    <a:pt x="559756" y="105021"/>
                    <a:pt x="545977" y="105021"/>
                  </a:cubicBezTo>
                  <a:cubicBezTo>
                    <a:pt x="532197" y="105021"/>
                    <a:pt x="522887" y="94966"/>
                    <a:pt x="522887" y="79697"/>
                  </a:cubicBezTo>
                  <a:cubicBezTo>
                    <a:pt x="522887" y="64428"/>
                    <a:pt x="532570" y="54000"/>
                    <a:pt x="547094" y="54000"/>
                  </a:cubicBezTo>
                  <a:close/>
                  <a:moveTo>
                    <a:pt x="409301" y="54000"/>
                  </a:moveTo>
                  <a:cubicBezTo>
                    <a:pt x="421963" y="54000"/>
                    <a:pt x="429784" y="63310"/>
                    <a:pt x="429412" y="78579"/>
                  </a:cubicBezTo>
                  <a:cubicBezTo>
                    <a:pt x="429412" y="79697"/>
                    <a:pt x="429412" y="80814"/>
                    <a:pt x="429412" y="81186"/>
                  </a:cubicBezTo>
                  <a:cubicBezTo>
                    <a:pt x="429412" y="81559"/>
                    <a:pt x="429412" y="81559"/>
                    <a:pt x="429412" y="81931"/>
                  </a:cubicBezTo>
                  <a:lnTo>
                    <a:pt x="395894" y="81931"/>
                  </a:lnTo>
                  <a:lnTo>
                    <a:pt x="395894" y="82676"/>
                  </a:lnTo>
                  <a:cubicBezTo>
                    <a:pt x="395894" y="83048"/>
                    <a:pt x="395894" y="83793"/>
                    <a:pt x="395894" y="84166"/>
                  </a:cubicBezTo>
                  <a:cubicBezTo>
                    <a:pt x="396267" y="91986"/>
                    <a:pt x="402970" y="97572"/>
                    <a:pt x="410791" y="97200"/>
                  </a:cubicBezTo>
                  <a:cubicBezTo>
                    <a:pt x="415632" y="97200"/>
                    <a:pt x="420101" y="95710"/>
                    <a:pt x="424198" y="93476"/>
                  </a:cubicBezTo>
                  <a:lnTo>
                    <a:pt x="427549" y="99807"/>
                  </a:lnTo>
                  <a:cubicBezTo>
                    <a:pt x="422336" y="102786"/>
                    <a:pt x="416377" y="104648"/>
                    <a:pt x="410046" y="104648"/>
                  </a:cubicBezTo>
                  <a:cubicBezTo>
                    <a:pt x="395894" y="104648"/>
                    <a:pt x="386584" y="94593"/>
                    <a:pt x="386584" y="79697"/>
                  </a:cubicBezTo>
                  <a:cubicBezTo>
                    <a:pt x="386584" y="64800"/>
                    <a:pt x="395894" y="54000"/>
                    <a:pt x="409301" y="54000"/>
                  </a:cubicBezTo>
                  <a:close/>
                  <a:moveTo>
                    <a:pt x="465907" y="53627"/>
                  </a:moveTo>
                  <a:cubicBezTo>
                    <a:pt x="472238" y="54000"/>
                    <a:pt x="478569" y="55489"/>
                    <a:pt x="484528" y="58469"/>
                  </a:cubicBezTo>
                  <a:lnTo>
                    <a:pt x="484528" y="103531"/>
                  </a:lnTo>
                  <a:cubicBezTo>
                    <a:pt x="484528" y="110979"/>
                    <a:pt x="484155" y="116193"/>
                    <a:pt x="479686" y="120662"/>
                  </a:cubicBezTo>
                  <a:cubicBezTo>
                    <a:pt x="474845" y="124758"/>
                    <a:pt x="468886" y="126993"/>
                    <a:pt x="462555" y="126620"/>
                  </a:cubicBezTo>
                  <a:cubicBezTo>
                    <a:pt x="455480" y="126993"/>
                    <a:pt x="448404" y="124758"/>
                    <a:pt x="442445" y="120289"/>
                  </a:cubicBezTo>
                  <a:lnTo>
                    <a:pt x="446542" y="113958"/>
                  </a:lnTo>
                  <a:cubicBezTo>
                    <a:pt x="451011" y="116938"/>
                    <a:pt x="456224" y="118800"/>
                    <a:pt x="461438" y="119172"/>
                  </a:cubicBezTo>
                  <a:cubicBezTo>
                    <a:pt x="464790" y="119172"/>
                    <a:pt x="468514" y="117683"/>
                    <a:pt x="471121" y="115448"/>
                  </a:cubicBezTo>
                  <a:cubicBezTo>
                    <a:pt x="474473" y="112469"/>
                    <a:pt x="474845" y="108372"/>
                    <a:pt x="474845" y="103531"/>
                  </a:cubicBezTo>
                  <a:lnTo>
                    <a:pt x="474845" y="99807"/>
                  </a:lnTo>
                  <a:lnTo>
                    <a:pt x="473728" y="100179"/>
                  </a:lnTo>
                  <a:lnTo>
                    <a:pt x="473355" y="100551"/>
                  </a:lnTo>
                  <a:cubicBezTo>
                    <a:pt x="470004" y="102414"/>
                    <a:pt x="465907" y="103531"/>
                    <a:pt x="461811" y="103531"/>
                  </a:cubicBezTo>
                  <a:cubicBezTo>
                    <a:pt x="447286" y="103531"/>
                    <a:pt x="440583" y="91241"/>
                    <a:pt x="440583" y="79696"/>
                  </a:cubicBezTo>
                  <a:cubicBezTo>
                    <a:pt x="440583" y="78951"/>
                    <a:pt x="440583" y="78579"/>
                    <a:pt x="440583" y="77834"/>
                  </a:cubicBezTo>
                  <a:cubicBezTo>
                    <a:pt x="440955" y="64055"/>
                    <a:pt x="452128" y="53255"/>
                    <a:pt x="465907" y="53627"/>
                  </a:cubicBezTo>
                  <a:close/>
                  <a:moveTo>
                    <a:pt x="342267" y="45807"/>
                  </a:moveTo>
                  <a:lnTo>
                    <a:pt x="342267" y="68152"/>
                  </a:lnTo>
                  <a:lnTo>
                    <a:pt x="347480" y="68152"/>
                  </a:lnTo>
                  <a:cubicBezTo>
                    <a:pt x="353067" y="68152"/>
                    <a:pt x="357536" y="67780"/>
                    <a:pt x="360887" y="64800"/>
                  </a:cubicBezTo>
                  <a:cubicBezTo>
                    <a:pt x="364984" y="60331"/>
                    <a:pt x="364984" y="53628"/>
                    <a:pt x="361260" y="48786"/>
                  </a:cubicBezTo>
                  <a:cubicBezTo>
                    <a:pt x="358280" y="46552"/>
                    <a:pt x="354556" y="45435"/>
                    <a:pt x="350832" y="45807"/>
                  </a:cubicBezTo>
                  <a:close/>
                  <a:moveTo>
                    <a:pt x="505011" y="37986"/>
                  </a:moveTo>
                  <a:cubicBezTo>
                    <a:pt x="508362" y="37986"/>
                    <a:pt x="510969" y="40593"/>
                    <a:pt x="510969" y="43945"/>
                  </a:cubicBezTo>
                  <a:cubicBezTo>
                    <a:pt x="510969" y="46924"/>
                    <a:pt x="508362" y="49531"/>
                    <a:pt x="505011" y="49531"/>
                  </a:cubicBezTo>
                  <a:cubicBezTo>
                    <a:pt x="501659" y="49531"/>
                    <a:pt x="499052" y="46924"/>
                    <a:pt x="499052" y="43945"/>
                  </a:cubicBezTo>
                  <a:cubicBezTo>
                    <a:pt x="499052" y="40593"/>
                    <a:pt x="501659" y="37986"/>
                    <a:pt x="505011" y="37986"/>
                  </a:cubicBezTo>
                  <a:close/>
                  <a:moveTo>
                    <a:pt x="331839" y="37614"/>
                  </a:moveTo>
                  <a:lnTo>
                    <a:pt x="348970" y="37614"/>
                  </a:lnTo>
                  <a:cubicBezTo>
                    <a:pt x="357536" y="37614"/>
                    <a:pt x="363867" y="37986"/>
                    <a:pt x="368708" y="42828"/>
                  </a:cubicBezTo>
                  <a:cubicBezTo>
                    <a:pt x="372060" y="46180"/>
                    <a:pt x="373922" y="51021"/>
                    <a:pt x="373922" y="55862"/>
                  </a:cubicBezTo>
                  <a:cubicBezTo>
                    <a:pt x="374294" y="59959"/>
                    <a:pt x="372804" y="64428"/>
                    <a:pt x="369825" y="67407"/>
                  </a:cubicBezTo>
                  <a:cubicBezTo>
                    <a:pt x="366846" y="70386"/>
                    <a:pt x="363122" y="72248"/>
                    <a:pt x="359025" y="72621"/>
                  </a:cubicBezTo>
                  <a:cubicBezTo>
                    <a:pt x="361632" y="72993"/>
                    <a:pt x="363867" y="74483"/>
                    <a:pt x="365729" y="76345"/>
                  </a:cubicBezTo>
                  <a:cubicBezTo>
                    <a:pt x="367591" y="78952"/>
                    <a:pt x="369080" y="81559"/>
                    <a:pt x="370198" y="84538"/>
                  </a:cubicBezTo>
                  <a:lnTo>
                    <a:pt x="378391" y="103531"/>
                  </a:lnTo>
                  <a:lnTo>
                    <a:pt x="367591" y="103531"/>
                  </a:lnTo>
                  <a:lnTo>
                    <a:pt x="359770" y="86028"/>
                  </a:lnTo>
                  <a:cubicBezTo>
                    <a:pt x="355301" y="76345"/>
                    <a:pt x="352694" y="75973"/>
                    <a:pt x="345246" y="75973"/>
                  </a:cubicBezTo>
                  <a:lnTo>
                    <a:pt x="341894" y="75973"/>
                  </a:lnTo>
                  <a:lnTo>
                    <a:pt x="341894" y="103531"/>
                  </a:lnTo>
                  <a:lnTo>
                    <a:pt x="331839" y="103531"/>
                  </a:lnTo>
                  <a:close/>
                  <a:moveTo>
                    <a:pt x="131481" y="12290"/>
                  </a:moveTo>
                  <a:cubicBezTo>
                    <a:pt x="122915" y="18248"/>
                    <a:pt x="116957" y="27186"/>
                    <a:pt x="113605" y="36869"/>
                  </a:cubicBezTo>
                  <a:cubicBezTo>
                    <a:pt x="110253" y="30166"/>
                    <a:pt x="102805" y="18621"/>
                    <a:pt x="96846" y="17876"/>
                  </a:cubicBezTo>
                  <a:cubicBezTo>
                    <a:pt x="90143" y="21972"/>
                    <a:pt x="89398" y="41338"/>
                    <a:pt x="92377" y="52883"/>
                  </a:cubicBezTo>
                  <a:cubicBezTo>
                    <a:pt x="83439" y="44317"/>
                    <a:pt x="67053" y="35007"/>
                    <a:pt x="60722" y="38731"/>
                  </a:cubicBezTo>
                  <a:cubicBezTo>
                    <a:pt x="58115" y="44690"/>
                    <a:pt x="63702" y="56607"/>
                    <a:pt x="67798" y="62938"/>
                  </a:cubicBezTo>
                  <a:cubicBezTo>
                    <a:pt x="58488" y="60703"/>
                    <a:pt x="43964" y="62193"/>
                    <a:pt x="38005" y="65917"/>
                  </a:cubicBezTo>
                  <a:cubicBezTo>
                    <a:pt x="45081" y="73738"/>
                    <a:pt x="54391" y="78579"/>
                    <a:pt x="64446" y="80069"/>
                  </a:cubicBezTo>
                  <a:cubicBezTo>
                    <a:pt x="74502" y="82303"/>
                    <a:pt x="84557" y="84538"/>
                    <a:pt x="90888" y="91614"/>
                  </a:cubicBezTo>
                  <a:cubicBezTo>
                    <a:pt x="103550" y="106138"/>
                    <a:pt x="132970" y="139655"/>
                    <a:pt x="134460" y="141145"/>
                  </a:cubicBezTo>
                  <a:cubicBezTo>
                    <a:pt x="132598" y="140772"/>
                    <a:pt x="88281" y="132207"/>
                    <a:pt x="69288" y="128483"/>
                  </a:cubicBezTo>
                  <a:cubicBezTo>
                    <a:pt x="59605" y="126621"/>
                    <a:pt x="52529" y="118800"/>
                    <a:pt x="45826" y="111352"/>
                  </a:cubicBezTo>
                  <a:cubicBezTo>
                    <a:pt x="39495" y="103531"/>
                    <a:pt x="30557" y="98317"/>
                    <a:pt x="20874" y="96083"/>
                  </a:cubicBezTo>
                  <a:cubicBezTo>
                    <a:pt x="20502" y="103159"/>
                    <a:pt x="26088" y="116566"/>
                    <a:pt x="32791" y="123641"/>
                  </a:cubicBezTo>
                  <a:cubicBezTo>
                    <a:pt x="25715" y="123269"/>
                    <a:pt x="12309" y="124014"/>
                    <a:pt x="8957" y="128483"/>
                  </a:cubicBezTo>
                  <a:cubicBezTo>
                    <a:pt x="9329" y="135931"/>
                    <a:pt x="25715" y="146359"/>
                    <a:pt x="37260" y="149710"/>
                  </a:cubicBezTo>
                  <a:cubicBezTo>
                    <a:pt x="25715" y="153062"/>
                    <a:pt x="9329" y="163490"/>
                    <a:pt x="8957" y="170938"/>
                  </a:cubicBezTo>
                  <a:cubicBezTo>
                    <a:pt x="11936" y="175407"/>
                    <a:pt x="25715" y="176152"/>
                    <a:pt x="32791" y="175779"/>
                  </a:cubicBezTo>
                  <a:cubicBezTo>
                    <a:pt x="26460" y="182855"/>
                    <a:pt x="20874" y="196262"/>
                    <a:pt x="20874" y="203338"/>
                  </a:cubicBezTo>
                  <a:cubicBezTo>
                    <a:pt x="30557" y="201476"/>
                    <a:pt x="39122" y="195890"/>
                    <a:pt x="45453" y="188069"/>
                  </a:cubicBezTo>
                  <a:cubicBezTo>
                    <a:pt x="52157" y="180248"/>
                    <a:pt x="59233" y="172428"/>
                    <a:pt x="68915" y="170566"/>
                  </a:cubicBezTo>
                  <a:cubicBezTo>
                    <a:pt x="87908" y="166841"/>
                    <a:pt x="131853" y="158276"/>
                    <a:pt x="134088" y="157903"/>
                  </a:cubicBezTo>
                  <a:cubicBezTo>
                    <a:pt x="132598" y="159393"/>
                    <a:pt x="103177" y="192910"/>
                    <a:pt x="90515" y="207434"/>
                  </a:cubicBezTo>
                  <a:cubicBezTo>
                    <a:pt x="84184" y="214883"/>
                    <a:pt x="74129" y="216745"/>
                    <a:pt x="64074" y="218979"/>
                  </a:cubicBezTo>
                  <a:cubicBezTo>
                    <a:pt x="53646" y="220469"/>
                    <a:pt x="44336" y="225310"/>
                    <a:pt x="37633" y="233131"/>
                  </a:cubicBezTo>
                  <a:cubicBezTo>
                    <a:pt x="43591" y="236483"/>
                    <a:pt x="58115" y="238345"/>
                    <a:pt x="67426" y="236110"/>
                  </a:cubicBezTo>
                  <a:cubicBezTo>
                    <a:pt x="63702" y="242069"/>
                    <a:pt x="57371" y="254359"/>
                    <a:pt x="58860" y="259572"/>
                  </a:cubicBezTo>
                  <a:cubicBezTo>
                    <a:pt x="65936" y="263297"/>
                    <a:pt x="81950" y="255103"/>
                    <a:pt x="91260" y="246166"/>
                  </a:cubicBezTo>
                  <a:cubicBezTo>
                    <a:pt x="88281" y="258455"/>
                    <a:pt x="89398" y="276331"/>
                    <a:pt x="96102" y="280800"/>
                  </a:cubicBezTo>
                  <a:cubicBezTo>
                    <a:pt x="101688" y="280055"/>
                    <a:pt x="109136" y="268138"/>
                    <a:pt x="112488" y="261807"/>
                  </a:cubicBezTo>
                  <a:cubicBezTo>
                    <a:pt x="115839" y="271490"/>
                    <a:pt x="122170" y="280055"/>
                    <a:pt x="130364" y="286386"/>
                  </a:cubicBezTo>
                  <a:cubicBezTo>
                    <a:pt x="133715" y="276703"/>
                    <a:pt x="133343" y="266276"/>
                    <a:pt x="129619" y="256593"/>
                  </a:cubicBezTo>
                  <a:cubicBezTo>
                    <a:pt x="126639" y="247283"/>
                    <a:pt x="123660" y="237600"/>
                    <a:pt x="126639" y="228290"/>
                  </a:cubicBezTo>
                  <a:cubicBezTo>
                    <a:pt x="132970" y="209669"/>
                    <a:pt x="147122" y="167586"/>
                    <a:pt x="147867" y="165724"/>
                  </a:cubicBezTo>
                  <a:cubicBezTo>
                    <a:pt x="148612" y="167959"/>
                    <a:pt x="162764" y="209669"/>
                    <a:pt x="169095" y="228290"/>
                  </a:cubicBezTo>
                  <a:cubicBezTo>
                    <a:pt x="172446" y="237228"/>
                    <a:pt x="169095" y="247283"/>
                    <a:pt x="166115" y="256593"/>
                  </a:cubicBezTo>
                  <a:cubicBezTo>
                    <a:pt x="162391" y="266276"/>
                    <a:pt x="162019" y="276703"/>
                    <a:pt x="165370" y="286386"/>
                  </a:cubicBezTo>
                  <a:cubicBezTo>
                    <a:pt x="173936" y="280055"/>
                    <a:pt x="179895" y="271490"/>
                    <a:pt x="183246" y="261807"/>
                  </a:cubicBezTo>
                  <a:cubicBezTo>
                    <a:pt x="186598" y="268510"/>
                    <a:pt x="194046" y="280055"/>
                    <a:pt x="199632" y="280800"/>
                  </a:cubicBezTo>
                  <a:cubicBezTo>
                    <a:pt x="206336" y="276703"/>
                    <a:pt x="207826" y="258828"/>
                    <a:pt x="204474" y="246166"/>
                  </a:cubicBezTo>
                  <a:cubicBezTo>
                    <a:pt x="213784" y="255476"/>
                    <a:pt x="229798" y="263297"/>
                    <a:pt x="236874" y="259572"/>
                  </a:cubicBezTo>
                  <a:cubicBezTo>
                    <a:pt x="239108" y="254359"/>
                    <a:pt x="232777" y="242069"/>
                    <a:pt x="229053" y="236110"/>
                  </a:cubicBezTo>
                  <a:cubicBezTo>
                    <a:pt x="238363" y="238345"/>
                    <a:pt x="252888" y="236855"/>
                    <a:pt x="258846" y="233131"/>
                  </a:cubicBezTo>
                  <a:cubicBezTo>
                    <a:pt x="252143" y="225310"/>
                    <a:pt x="242460" y="220469"/>
                    <a:pt x="232405" y="218979"/>
                  </a:cubicBezTo>
                  <a:cubicBezTo>
                    <a:pt x="222350" y="216745"/>
                    <a:pt x="212294" y="214510"/>
                    <a:pt x="205963" y="207434"/>
                  </a:cubicBezTo>
                  <a:cubicBezTo>
                    <a:pt x="193301" y="192910"/>
                    <a:pt x="163881" y="159393"/>
                    <a:pt x="162391" y="157903"/>
                  </a:cubicBezTo>
                  <a:cubicBezTo>
                    <a:pt x="164253" y="158276"/>
                    <a:pt x="208570" y="166841"/>
                    <a:pt x="227563" y="170566"/>
                  </a:cubicBezTo>
                  <a:cubicBezTo>
                    <a:pt x="237246" y="172428"/>
                    <a:pt x="244322" y="180248"/>
                    <a:pt x="251025" y="187697"/>
                  </a:cubicBezTo>
                  <a:cubicBezTo>
                    <a:pt x="257357" y="195517"/>
                    <a:pt x="266294" y="200731"/>
                    <a:pt x="275977" y="202966"/>
                  </a:cubicBezTo>
                  <a:cubicBezTo>
                    <a:pt x="276350" y="195890"/>
                    <a:pt x="270763" y="182483"/>
                    <a:pt x="264060" y="175407"/>
                  </a:cubicBezTo>
                  <a:cubicBezTo>
                    <a:pt x="271136" y="175779"/>
                    <a:pt x="284543" y="175034"/>
                    <a:pt x="289384" y="170938"/>
                  </a:cubicBezTo>
                  <a:cubicBezTo>
                    <a:pt x="289384" y="163490"/>
                    <a:pt x="272625" y="153062"/>
                    <a:pt x="261081" y="149710"/>
                  </a:cubicBezTo>
                  <a:cubicBezTo>
                    <a:pt x="272625" y="146359"/>
                    <a:pt x="289012" y="135931"/>
                    <a:pt x="289384" y="128483"/>
                  </a:cubicBezTo>
                  <a:cubicBezTo>
                    <a:pt x="286032" y="124014"/>
                    <a:pt x="272625" y="123269"/>
                    <a:pt x="265550" y="123641"/>
                  </a:cubicBezTo>
                  <a:cubicBezTo>
                    <a:pt x="271881" y="116566"/>
                    <a:pt x="277467" y="103159"/>
                    <a:pt x="277467" y="96083"/>
                  </a:cubicBezTo>
                  <a:cubicBezTo>
                    <a:pt x="267412" y="97945"/>
                    <a:pt x="258846" y="103531"/>
                    <a:pt x="252515" y="111352"/>
                  </a:cubicBezTo>
                  <a:cubicBezTo>
                    <a:pt x="245812" y="118800"/>
                    <a:pt x="238736" y="126621"/>
                    <a:pt x="229053" y="128483"/>
                  </a:cubicBezTo>
                  <a:cubicBezTo>
                    <a:pt x="210060" y="132207"/>
                    <a:pt x="165743" y="140772"/>
                    <a:pt x="163881" y="141145"/>
                  </a:cubicBezTo>
                  <a:cubicBezTo>
                    <a:pt x="165370" y="139655"/>
                    <a:pt x="194791" y="106138"/>
                    <a:pt x="207453" y="91614"/>
                  </a:cubicBezTo>
                  <a:cubicBezTo>
                    <a:pt x="213784" y="84166"/>
                    <a:pt x="223839" y="82303"/>
                    <a:pt x="233894" y="80069"/>
                  </a:cubicBezTo>
                  <a:cubicBezTo>
                    <a:pt x="244322" y="78952"/>
                    <a:pt x="253632" y="73738"/>
                    <a:pt x="260336" y="65917"/>
                  </a:cubicBezTo>
                  <a:cubicBezTo>
                    <a:pt x="254005" y="62193"/>
                    <a:pt x="239853" y="60703"/>
                    <a:pt x="230543" y="62938"/>
                  </a:cubicBezTo>
                  <a:cubicBezTo>
                    <a:pt x="234639" y="56607"/>
                    <a:pt x="240226" y="44690"/>
                    <a:pt x="237619" y="38731"/>
                  </a:cubicBezTo>
                  <a:cubicBezTo>
                    <a:pt x="231288" y="35379"/>
                    <a:pt x="214529" y="44317"/>
                    <a:pt x="205963" y="52883"/>
                  </a:cubicBezTo>
                  <a:cubicBezTo>
                    <a:pt x="208943" y="41338"/>
                    <a:pt x="207826" y="21600"/>
                    <a:pt x="201495" y="17876"/>
                  </a:cubicBezTo>
                  <a:cubicBezTo>
                    <a:pt x="195536" y="18621"/>
                    <a:pt x="187715" y="30166"/>
                    <a:pt x="184363" y="36869"/>
                  </a:cubicBezTo>
                  <a:cubicBezTo>
                    <a:pt x="181384" y="27559"/>
                    <a:pt x="172819" y="16014"/>
                    <a:pt x="166488" y="12290"/>
                  </a:cubicBezTo>
                  <a:cubicBezTo>
                    <a:pt x="163136" y="21972"/>
                    <a:pt x="163508" y="32400"/>
                    <a:pt x="167232" y="42083"/>
                  </a:cubicBezTo>
                  <a:cubicBezTo>
                    <a:pt x="170212" y="51393"/>
                    <a:pt x="173191" y="61076"/>
                    <a:pt x="170212" y="70386"/>
                  </a:cubicBezTo>
                  <a:cubicBezTo>
                    <a:pt x="164253" y="89007"/>
                    <a:pt x="149729" y="131090"/>
                    <a:pt x="148984" y="132952"/>
                  </a:cubicBezTo>
                  <a:cubicBezTo>
                    <a:pt x="148239" y="130717"/>
                    <a:pt x="134088" y="89007"/>
                    <a:pt x="127757" y="70386"/>
                  </a:cubicBezTo>
                  <a:cubicBezTo>
                    <a:pt x="124405" y="61448"/>
                    <a:pt x="127757" y="51393"/>
                    <a:pt x="130736" y="42083"/>
                  </a:cubicBezTo>
                  <a:cubicBezTo>
                    <a:pt x="134460" y="32772"/>
                    <a:pt x="134833" y="21972"/>
                    <a:pt x="131481" y="12290"/>
                  </a:cubicBezTo>
                  <a:close/>
                  <a:moveTo>
                    <a:pt x="134833" y="0"/>
                  </a:moveTo>
                  <a:cubicBezTo>
                    <a:pt x="151591" y="32772"/>
                    <a:pt x="131853" y="41338"/>
                    <a:pt x="134833" y="67779"/>
                  </a:cubicBezTo>
                  <a:cubicBezTo>
                    <a:pt x="138557" y="78952"/>
                    <a:pt x="144515" y="96828"/>
                    <a:pt x="148239" y="107255"/>
                  </a:cubicBezTo>
                  <a:cubicBezTo>
                    <a:pt x="152336" y="94966"/>
                    <a:pt x="157922" y="78207"/>
                    <a:pt x="161646" y="67779"/>
                  </a:cubicBezTo>
                  <a:cubicBezTo>
                    <a:pt x="164253" y="40966"/>
                    <a:pt x="144888" y="32400"/>
                    <a:pt x="161646" y="0"/>
                  </a:cubicBezTo>
                  <a:cubicBezTo>
                    <a:pt x="170584" y="4469"/>
                    <a:pt x="178777" y="11172"/>
                    <a:pt x="184363" y="19738"/>
                  </a:cubicBezTo>
                  <a:cubicBezTo>
                    <a:pt x="190322" y="12662"/>
                    <a:pt x="196281" y="8938"/>
                    <a:pt x="202612" y="9310"/>
                  </a:cubicBezTo>
                  <a:cubicBezTo>
                    <a:pt x="208943" y="12662"/>
                    <a:pt x="214157" y="21228"/>
                    <a:pt x="214901" y="34634"/>
                  </a:cubicBezTo>
                  <a:cubicBezTo>
                    <a:pt x="227191" y="27931"/>
                    <a:pt x="236501" y="29048"/>
                    <a:pt x="242088" y="32400"/>
                  </a:cubicBezTo>
                  <a:cubicBezTo>
                    <a:pt x="246557" y="38731"/>
                    <a:pt x="244322" y="49159"/>
                    <a:pt x="242832" y="53255"/>
                  </a:cubicBezTo>
                  <a:cubicBezTo>
                    <a:pt x="253260" y="53628"/>
                    <a:pt x="262943" y="57352"/>
                    <a:pt x="271136" y="62938"/>
                  </a:cubicBezTo>
                  <a:cubicBezTo>
                    <a:pt x="251770" y="93848"/>
                    <a:pt x="233894" y="81186"/>
                    <a:pt x="212294" y="96828"/>
                  </a:cubicBezTo>
                  <a:cubicBezTo>
                    <a:pt x="204101" y="106138"/>
                    <a:pt x="190322" y="121779"/>
                    <a:pt x="184736" y="128110"/>
                  </a:cubicBezTo>
                  <a:cubicBezTo>
                    <a:pt x="195536" y="125876"/>
                    <a:pt x="214157" y="122152"/>
                    <a:pt x="226074" y="119917"/>
                  </a:cubicBezTo>
                  <a:cubicBezTo>
                    <a:pt x="250281" y="109490"/>
                    <a:pt x="248046" y="87890"/>
                    <a:pt x="284543" y="85655"/>
                  </a:cubicBezTo>
                  <a:cubicBezTo>
                    <a:pt x="285660" y="95710"/>
                    <a:pt x="283798" y="106138"/>
                    <a:pt x="279329" y="115448"/>
                  </a:cubicBezTo>
                  <a:cubicBezTo>
                    <a:pt x="285288" y="116566"/>
                    <a:pt x="293481" y="119172"/>
                    <a:pt x="296460" y="125876"/>
                  </a:cubicBezTo>
                  <a:cubicBezTo>
                    <a:pt x="296460" y="133324"/>
                    <a:pt x="291991" y="141890"/>
                    <a:pt x="280074" y="149338"/>
                  </a:cubicBezTo>
                  <a:cubicBezTo>
                    <a:pt x="291619" y="156786"/>
                    <a:pt x="296832" y="165724"/>
                    <a:pt x="296460" y="173172"/>
                  </a:cubicBezTo>
                  <a:cubicBezTo>
                    <a:pt x="293481" y="179876"/>
                    <a:pt x="285660" y="182483"/>
                    <a:pt x="279329" y="183600"/>
                  </a:cubicBezTo>
                  <a:cubicBezTo>
                    <a:pt x="283798" y="192910"/>
                    <a:pt x="285660" y="203338"/>
                    <a:pt x="284543" y="213393"/>
                  </a:cubicBezTo>
                  <a:cubicBezTo>
                    <a:pt x="248791" y="211531"/>
                    <a:pt x="249908" y="189559"/>
                    <a:pt x="226074" y="179131"/>
                  </a:cubicBezTo>
                  <a:cubicBezTo>
                    <a:pt x="214529" y="176897"/>
                    <a:pt x="195536" y="173172"/>
                    <a:pt x="184736" y="170938"/>
                  </a:cubicBezTo>
                  <a:cubicBezTo>
                    <a:pt x="192184" y="179131"/>
                    <a:pt x="204474" y="193283"/>
                    <a:pt x="212294" y="202221"/>
                  </a:cubicBezTo>
                  <a:cubicBezTo>
                    <a:pt x="233894" y="217862"/>
                    <a:pt x="251398" y="205200"/>
                    <a:pt x="271136" y="236110"/>
                  </a:cubicBezTo>
                  <a:cubicBezTo>
                    <a:pt x="262943" y="241697"/>
                    <a:pt x="253260" y="245048"/>
                    <a:pt x="243205" y="245793"/>
                  </a:cubicBezTo>
                  <a:cubicBezTo>
                    <a:pt x="245812" y="251752"/>
                    <a:pt x="247301" y="259945"/>
                    <a:pt x="243205" y="265903"/>
                  </a:cubicBezTo>
                  <a:cubicBezTo>
                    <a:pt x="236874" y="269628"/>
                    <a:pt x="226819" y="270000"/>
                    <a:pt x="214901" y="264041"/>
                  </a:cubicBezTo>
                  <a:cubicBezTo>
                    <a:pt x="214157" y="277448"/>
                    <a:pt x="208570" y="285641"/>
                    <a:pt x="202239" y="289366"/>
                  </a:cubicBezTo>
                  <a:cubicBezTo>
                    <a:pt x="194791" y="290110"/>
                    <a:pt x="187715" y="283407"/>
                    <a:pt x="184363" y="278938"/>
                  </a:cubicBezTo>
                  <a:cubicBezTo>
                    <a:pt x="178777" y="287503"/>
                    <a:pt x="170957" y="294207"/>
                    <a:pt x="161646" y="298676"/>
                  </a:cubicBezTo>
                  <a:cubicBezTo>
                    <a:pt x="144888" y="266648"/>
                    <a:pt x="164253" y="257338"/>
                    <a:pt x="161646" y="230897"/>
                  </a:cubicBezTo>
                  <a:cubicBezTo>
                    <a:pt x="157922" y="219724"/>
                    <a:pt x="151964" y="201848"/>
                    <a:pt x="148239" y="191421"/>
                  </a:cubicBezTo>
                  <a:cubicBezTo>
                    <a:pt x="144143" y="203710"/>
                    <a:pt x="138557" y="220469"/>
                    <a:pt x="134833" y="230897"/>
                  </a:cubicBezTo>
                  <a:cubicBezTo>
                    <a:pt x="131853" y="257710"/>
                    <a:pt x="151591" y="265903"/>
                    <a:pt x="134833" y="298676"/>
                  </a:cubicBezTo>
                  <a:cubicBezTo>
                    <a:pt x="125522" y="294207"/>
                    <a:pt x="117701" y="287503"/>
                    <a:pt x="112115" y="278938"/>
                  </a:cubicBezTo>
                  <a:cubicBezTo>
                    <a:pt x="108764" y="283407"/>
                    <a:pt x="101688" y="290110"/>
                    <a:pt x="94239" y="289366"/>
                  </a:cubicBezTo>
                  <a:cubicBezTo>
                    <a:pt x="87536" y="286014"/>
                    <a:pt x="82322" y="277448"/>
                    <a:pt x="81577" y="264041"/>
                  </a:cubicBezTo>
                  <a:cubicBezTo>
                    <a:pt x="69660" y="270372"/>
                    <a:pt x="59605" y="269628"/>
                    <a:pt x="53274" y="265903"/>
                  </a:cubicBezTo>
                  <a:cubicBezTo>
                    <a:pt x="49177" y="259945"/>
                    <a:pt x="51040" y="251752"/>
                    <a:pt x="53274" y="245793"/>
                  </a:cubicBezTo>
                  <a:cubicBezTo>
                    <a:pt x="43219" y="245421"/>
                    <a:pt x="33536" y="241697"/>
                    <a:pt x="25343" y="236110"/>
                  </a:cubicBezTo>
                  <a:cubicBezTo>
                    <a:pt x="44708" y="205200"/>
                    <a:pt x="62584" y="217862"/>
                    <a:pt x="84184" y="202221"/>
                  </a:cubicBezTo>
                  <a:cubicBezTo>
                    <a:pt x="92005" y="193283"/>
                    <a:pt x="104295" y="179131"/>
                    <a:pt x="111743" y="170938"/>
                  </a:cubicBezTo>
                  <a:cubicBezTo>
                    <a:pt x="98708" y="173545"/>
                    <a:pt x="81205" y="176897"/>
                    <a:pt x="70405" y="179131"/>
                  </a:cubicBezTo>
                  <a:cubicBezTo>
                    <a:pt x="46198" y="189559"/>
                    <a:pt x="47688" y="211531"/>
                    <a:pt x="11936" y="213393"/>
                  </a:cubicBezTo>
                  <a:cubicBezTo>
                    <a:pt x="10819" y="203338"/>
                    <a:pt x="12681" y="192910"/>
                    <a:pt x="17150" y="183600"/>
                  </a:cubicBezTo>
                  <a:cubicBezTo>
                    <a:pt x="11191" y="182483"/>
                    <a:pt x="2998" y="179876"/>
                    <a:pt x="19" y="173172"/>
                  </a:cubicBezTo>
                  <a:cubicBezTo>
                    <a:pt x="-354" y="165724"/>
                    <a:pt x="4488" y="157159"/>
                    <a:pt x="16405" y="149710"/>
                  </a:cubicBezTo>
                  <a:cubicBezTo>
                    <a:pt x="4488" y="142262"/>
                    <a:pt x="19" y="133324"/>
                    <a:pt x="19" y="126248"/>
                  </a:cubicBezTo>
                  <a:cubicBezTo>
                    <a:pt x="2998" y="119545"/>
                    <a:pt x="10819" y="116938"/>
                    <a:pt x="17150" y="115821"/>
                  </a:cubicBezTo>
                  <a:cubicBezTo>
                    <a:pt x="12681" y="106510"/>
                    <a:pt x="10819" y="96083"/>
                    <a:pt x="11936" y="86028"/>
                  </a:cubicBezTo>
                  <a:cubicBezTo>
                    <a:pt x="48433" y="88262"/>
                    <a:pt x="46571" y="109862"/>
                    <a:pt x="70405" y="120290"/>
                  </a:cubicBezTo>
                  <a:cubicBezTo>
                    <a:pt x="81950" y="122897"/>
                    <a:pt x="100943" y="126248"/>
                    <a:pt x="111743" y="128483"/>
                  </a:cubicBezTo>
                  <a:cubicBezTo>
                    <a:pt x="106157" y="122524"/>
                    <a:pt x="92377" y="106510"/>
                    <a:pt x="84184" y="97200"/>
                  </a:cubicBezTo>
                  <a:cubicBezTo>
                    <a:pt x="62584" y="81559"/>
                    <a:pt x="45081" y="94593"/>
                    <a:pt x="25343" y="63683"/>
                  </a:cubicBezTo>
                  <a:cubicBezTo>
                    <a:pt x="33908" y="57724"/>
                    <a:pt x="43591" y="54372"/>
                    <a:pt x="53646" y="53628"/>
                  </a:cubicBezTo>
                  <a:cubicBezTo>
                    <a:pt x="52157" y="49159"/>
                    <a:pt x="49922" y="39103"/>
                    <a:pt x="54391" y="32400"/>
                  </a:cubicBezTo>
                  <a:cubicBezTo>
                    <a:pt x="59977" y="28676"/>
                    <a:pt x="68915" y="27931"/>
                    <a:pt x="81577" y="34634"/>
                  </a:cubicBezTo>
                  <a:cubicBezTo>
                    <a:pt x="82322" y="21228"/>
                    <a:pt x="87536" y="12662"/>
                    <a:pt x="93867" y="9310"/>
                  </a:cubicBezTo>
                  <a:cubicBezTo>
                    <a:pt x="100198" y="8938"/>
                    <a:pt x="106157" y="12662"/>
                    <a:pt x="112115" y="19738"/>
                  </a:cubicBezTo>
                  <a:cubicBezTo>
                    <a:pt x="117701" y="11172"/>
                    <a:pt x="125522" y="4469"/>
                    <a:pt x="134833" y="0"/>
                  </a:cubicBezTo>
                  <a:close/>
                </a:path>
              </a:pathLst>
            </a:custGeom>
            <a:solidFill>
              <a:srgbClr val="FFFFFF"/>
            </a:solidFill>
            <a:ln w="3709" cap="flat">
              <a:noFill/>
              <a:prstDash val="solid"/>
              <a:miter/>
            </a:ln>
          </p:spPr>
          <p:txBody>
            <a:bodyPr wrap="square" rtlCol="0" anchor="ctr">
              <a:noAutofit/>
            </a:bodyPr>
            <a:lstStyle/>
            <a:p>
              <a:endParaRPr lang="sv-SE" sz="1350"/>
            </a:p>
          </p:txBody>
        </p:sp>
      </p:grpSp>
      <p:grpSp>
        <p:nvGrpSpPr>
          <p:cNvPr id="24" name="Folktandvården" hidden="1">
            <a:extLst>
              <a:ext uri="{FF2B5EF4-FFF2-40B4-BE49-F238E27FC236}">
                <a16:creationId xmlns:a16="http://schemas.microsoft.com/office/drawing/2014/main" id="{2ABEE15F-C77A-4CBC-89DB-F20690CD03FA}"/>
              </a:ext>
            </a:extLst>
          </p:cNvPr>
          <p:cNvGrpSpPr/>
          <p:nvPr userDrawn="1"/>
        </p:nvGrpSpPr>
        <p:grpSpPr>
          <a:xfrm>
            <a:off x="7490644" y="4673580"/>
            <a:ext cx="1653356" cy="324970"/>
            <a:chOff x="9987525" y="6231440"/>
            <a:chExt cx="2204474" cy="433293"/>
          </a:xfrm>
        </p:grpSpPr>
        <p:sp>
          <p:nvSpPr>
            <p:cNvPr id="25" name="Rektangel 24">
              <a:extLst>
                <a:ext uri="{FF2B5EF4-FFF2-40B4-BE49-F238E27FC236}">
                  <a16:creationId xmlns:a16="http://schemas.microsoft.com/office/drawing/2014/main" id="{5031865A-FE93-469C-A66F-4503FB18A6D3}"/>
                </a:ext>
              </a:extLst>
            </p:cNvPr>
            <p:cNvSpPr/>
            <p:nvPr userDrawn="1"/>
          </p:nvSpPr>
          <p:spPr>
            <a:xfrm>
              <a:off x="11604170" y="6231440"/>
              <a:ext cx="587829" cy="433117"/>
            </a:xfrm>
            <a:prstGeom prst="rect">
              <a:avLst/>
            </a:prstGeom>
            <a:solidFill>
              <a:srgbClr val="0861CE"/>
            </a:solidFill>
            <a:ln w="3709" cap="flat">
              <a:noFill/>
              <a:prstDash val="solid"/>
              <a:miter/>
            </a:ln>
          </p:spPr>
          <p:txBody>
            <a:bodyPr rtlCol="0" anchor="ctr"/>
            <a:lstStyle/>
            <a:p>
              <a:endParaRPr lang="sv-SE" sz="1350"/>
            </a:p>
          </p:txBody>
        </p:sp>
        <p:sp>
          <p:nvSpPr>
            <p:cNvPr id="26" name="Frihandsfigur: Form 25">
              <a:extLst>
                <a:ext uri="{FF2B5EF4-FFF2-40B4-BE49-F238E27FC236}">
                  <a16:creationId xmlns:a16="http://schemas.microsoft.com/office/drawing/2014/main" id="{5CD42E06-9AA9-47A9-A075-CBCCBF4B4F72}"/>
                </a:ext>
              </a:extLst>
            </p:cNvPr>
            <p:cNvSpPr/>
            <p:nvPr userDrawn="1"/>
          </p:nvSpPr>
          <p:spPr>
            <a:xfrm>
              <a:off x="9987525" y="6231616"/>
              <a:ext cx="1616646" cy="433117"/>
            </a:xfrm>
            <a:custGeom>
              <a:avLst/>
              <a:gdLst>
                <a:gd name="connsiteX0" fmla="*/ 216372 w 1616646"/>
                <a:gd name="connsiteY0" fmla="*/ 0 h 433117"/>
                <a:gd name="connsiteX1" fmla="*/ 1616646 w 1616646"/>
                <a:gd name="connsiteY1" fmla="*/ 0 h 433117"/>
                <a:gd name="connsiteX2" fmla="*/ 1616646 w 1616646"/>
                <a:gd name="connsiteY2" fmla="*/ 0 h 433117"/>
                <a:gd name="connsiteX3" fmla="*/ 1616646 w 1616646"/>
                <a:gd name="connsiteY3" fmla="*/ 433117 h 433117"/>
                <a:gd name="connsiteX4" fmla="*/ 1616646 w 1616646"/>
                <a:gd name="connsiteY4" fmla="*/ 433117 h 433117"/>
                <a:gd name="connsiteX5" fmla="*/ 216372 w 1616646"/>
                <a:gd name="connsiteY5" fmla="*/ 433117 h 433117"/>
                <a:gd name="connsiteX6" fmla="*/ 0 w 1616646"/>
                <a:gd name="connsiteY6" fmla="*/ 216372 h 433117"/>
                <a:gd name="connsiteX7" fmla="*/ 0 w 1616646"/>
                <a:gd name="connsiteY7" fmla="*/ 216372 h 433117"/>
                <a:gd name="connsiteX8" fmla="*/ 0 w 1616646"/>
                <a:gd name="connsiteY8" fmla="*/ 216372 h 433117"/>
                <a:gd name="connsiteX9" fmla="*/ 216372 w 1616646"/>
                <a:gd name="connsiteY9" fmla="*/ 0 h 433117"/>
                <a:gd name="connsiteX10" fmla="*/ 216372 w 1616646"/>
                <a:gd name="connsiteY10" fmla="*/ 0 h 43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646" h="433117">
                  <a:moveTo>
                    <a:pt x="216372" y="0"/>
                  </a:moveTo>
                  <a:lnTo>
                    <a:pt x="1616646" y="0"/>
                  </a:lnTo>
                  <a:lnTo>
                    <a:pt x="1616646" y="0"/>
                  </a:lnTo>
                  <a:lnTo>
                    <a:pt x="1616646" y="433117"/>
                  </a:lnTo>
                  <a:lnTo>
                    <a:pt x="1616646" y="433117"/>
                  </a:lnTo>
                  <a:lnTo>
                    <a:pt x="216372" y="433117"/>
                  </a:lnTo>
                  <a:cubicBezTo>
                    <a:pt x="96827" y="433117"/>
                    <a:pt x="0" y="335917"/>
                    <a:pt x="0" y="216372"/>
                  </a:cubicBezTo>
                  <a:cubicBezTo>
                    <a:pt x="0" y="216372"/>
                    <a:pt x="0" y="216372"/>
                    <a:pt x="0" y="216372"/>
                  </a:cubicBezTo>
                  <a:lnTo>
                    <a:pt x="0" y="216372"/>
                  </a:lnTo>
                  <a:cubicBezTo>
                    <a:pt x="0" y="96828"/>
                    <a:pt x="96827" y="0"/>
                    <a:pt x="216372" y="0"/>
                  </a:cubicBezTo>
                  <a:cubicBezTo>
                    <a:pt x="216372" y="0"/>
                    <a:pt x="216372" y="0"/>
                    <a:pt x="216372" y="0"/>
                  </a:cubicBezTo>
                  <a:close/>
                </a:path>
              </a:pathLst>
            </a:custGeom>
            <a:solidFill>
              <a:srgbClr val="0861CE"/>
            </a:solidFill>
            <a:ln w="3709" cap="flat">
              <a:noFill/>
              <a:prstDash val="solid"/>
              <a:miter/>
            </a:ln>
          </p:spPr>
          <p:txBody>
            <a:bodyPr rtlCol="0" anchor="ctr"/>
            <a:lstStyle/>
            <a:p>
              <a:endParaRPr lang="sv-SE" sz="1350"/>
            </a:p>
          </p:txBody>
        </p:sp>
        <p:pic>
          <p:nvPicPr>
            <p:cNvPr id="27" name="Bild 26">
              <a:extLst>
                <a:ext uri="{FF2B5EF4-FFF2-40B4-BE49-F238E27FC236}">
                  <a16:creationId xmlns:a16="http://schemas.microsoft.com/office/drawing/2014/main" id="{A7B6ACAF-E00C-41A1-AD37-0CBAFB15C2B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71462" y="6301064"/>
              <a:ext cx="1832076" cy="305346"/>
            </a:xfrm>
            <a:prstGeom prst="rect">
              <a:avLst/>
            </a:prstGeom>
          </p:spPr>
        </p:pic>
      </p:grpSp>
    </p:spTree>
    <p:extLst>
      <p:ext uri="{BB962C8B-B14F-4D97-AF65-F5344CB8AC3E}">
        <p14:creationId xmlns:p14="http://schemas.microsoft.com/office/powerpoint/2010/main" val="90487727"/>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Rubrikbild m foto">
    <p:bg>
      <p:bgPr>
        <a:solidFill>
          <a:schemeClr val="bg1"/>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1AC4039-3B29-4214-ACC9-36F0FC2AB255}"/>
              </a:ext>
              <a:ext uri="{C183D7F6-B498-43B3-948B-1728B52AA6E4}">
                <adec:decorative xmlns:adec="http://schemas.microsoft.com/office/drawing/2017/decorative" val="1"/>
              </a:ext>
            </a:extLst>
          </p:cNvPr>
          <p:cNvSpPr/>
          <p:nvPr userDrawn="1"/>
        </p:nvSpPr>
        <p:spPr>
          <a:xfrm>
            <a:off x="0" y="3387679"/>
            <a:ext cx="9144000" cy="175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12" name="Datum för presentation">
            <a:extLst>
              <a:ext uri="{FF2B5EF4-FFF2-40B4-BE49-F238E27FC236}">
                <a16:creationId xmlns:a16="http://schemas.microsoft.com/office/drawing/2014/main" id="{436EEB44-D9ED-4CD6-B497-E7521393A272}"/>
              </a:ext>
            </a:extLst>
          </p:cNvPr>
          <p:cNvSpPr>
            <a:spLocks noGrp="1"/>
          </p:cNvSpPr>
          <p:nvPr>
            <p:ph type="body" sz="quarter" idx="10" hasCustomPrompt="1"/>
          </p:nvPr>
        </p:nvSpPr>
        <p:spPr>
          <a:xfrm>
            <a:off x="7304925" y="3488660"/>
            <a:ext cx="1620000" cy="216000"/>
          </a:xfrm>
        </p:spPr>
        <p:txBody>
          <a:bodyPr anchor="b" anchorCtr="0">
            <a:normAutofit/>
          </a:bodyPr>
          <a:lstStyle>
            <a:lvl1pPr marL="0" indent="0" algn="r">
              <a:buNone/>
              <a:defRPr sz="1050">
                <a:solidFill>
                  <a:schemeClr val="bg1"/>
                </a:solidFill>
                <a:latin typeface="+mj-lt"/>
              </a:defRPr>
            </a:lvl1pPr>
            <a:lvl2pPr marL="176138" indent="0">
              <a:buNone/>
              <a:defRPr/>
            </a:lvl2pPr>
            <a:lvl3pPr marL="377354" indent="0">
              <a:buNone/>
              <a:defRPr/>
            </a:lvl3pPr>
            <a:lvl4pPr marL="567000" indent="0">
              <a:buNone/>
              <a:defRPr/>
            </a:lvl4pPr>
            <a:lvl5pPr marL="779785" indent="0">
              <a:buNone/>
              <a:defRPr/>
            </a:lvl5pPr>
          </a:lstStyle>
          <a:p>
            <a:pPr lvl="0"/>
            <a:r>
              <a:rPr lang="sv-SE" dirty="0"/>
              <a:t>Klicka och skriv datum</a:t>
            </a:r>
          </a:p>
        </p:txBody>
      </p:sp>
      <p:sp>
        <p:nvSpPr>
          <p:cNvPr id="10" name="Platshållare för bild 9">
            <a:extLst>
              <a:ext uri="{FF2B5EF4-FFF2-40B4-BE49-F238E27FC236}">
                <a16:creationId xmlns:a16="http://schemas.microsoft.com/office/drawing/2014/main" id="{CDF3493E-518E-45EF-A49B-F82F3FA4C1DD}"/>
              </a:ext>
              <a:ext uri="{C183D7F6-B498-43B3-948B-1728B52AA6E4}">
                <adec:decorative xmlns:adec="http://schemas.microsoft.com/office/drawing/2017/decorative" val="1"/>
              </a:ext>
            </a:extLst>
          </p:cNvPr>
          <p:cNvSpPr>
            <a:spLocks noGrp="1"/>
          </p:cNvSpPr>
          <p:nvPr>
            <p:ph type="pic" sz="quarter" idx="11" hasCustomPrompt="1"/>
          </p:nvPr>
        </p:nvSpPr>
        <p:spPr>
          <a:xfrm>
            <a:off x="0" y="0"/>
            <a:ext cx="9144000" cy="3388500"/>
          </a:xfrm>
          <a:solidFill>
            <a:schemeClr val="accent2"/>
          </a:solidFill>
        </p:spPr>
        <p:txBody>
          <a:bodyPr anchor="ctr" anchorCtr="0"/>
          <a:lstStyle>
            <a:lvl1pPr marL="0" indent="0" algn="ctr">
              <a:buNone/>
              <a:defRPr/>
            </a:lvl1pPr>
          </a:lstStyle>
          <a:p>
            <a:r>
              <a:rPr lang="sv-SE" dirty="0"/>
              <a:t>Markera bildplatshållaren och infoga önskad bild</a:t>
            </a:r>
          </a:p>
        </p:txBody>
      </p:sp>
      <p:sp>
        <p:nvSpPr>
          <p:cNvPr id="2" name="Rubrik 1">
            <a:extLst>
              <a:ext uri="{FF2B5EF4-FFF2-40B4-BE49-F238E27FC236}">
                <a16:creationId xmlns:a16="http://schemas.microsoft.com/office/drawing/2014/main" id="{238D417C-D98B-42D1-8332-541A31DFF270}"/>
              </a:ext>
            </a:extLst>
          </p:cNvPr>
          <p:cNvSpPr>
            <a:spLocks noGrp="1"/>
          </p:cNvSpPr>
          <p:nvPr>
            <p:ph type="ctrTitle" hasCustomPrompt="1"/>
          </p:nvPr>
        </p:nvSpPr>
        <p:spPr>
          <a:xfrm>
            <a:off x="401032" y="3494942"/>
            <a:ext cx="6819746" cy="589085"/>
          </a:xfrm>
        </p:spPr>
        <p:txBody>
          <a:bodyPr anchor="b"/>
          <a:lstStyle>
            <a:lvl1pPr algn="l">
              <a:defRPr sz="3000">
                <a:solidFill>
                  <a:schemeClr val="bg1"/>
                </a:solidFill>
              </a:defRPr>
            </a:lvl1pPr>
          </a:lstStyle>
          <a:p>
            <a:r>
              <a:rPr lang="sv-SE" dirty="0"/>
              <a:t>Klicka och skriv titel</a:t>
            </a:r>
          </a:p>
        </p:txBody>
      </p:sp>
      <p:sp>
        <p:nvSpPr>
          <p:cNvPr id="3" name="Underrubrik 2">
            <a:extLst>
              <a:ext uri="{FF2B5EF4-FFF2-40B4-BE49-F238E27FC236}">
                <a16:creationId xmlns:a16="http://schemas.microsoft.com/office/drawing/2014/main" id="{D716B026-314C-4514-80D8-702DADFD4090}"/>
              </a:ext>
            </a:extLst>
          </p:cNvPr>
          <p:cNvSpPr>
            <a:spLocks noGrp="1"/>
          </p:cNvSpPr>
          <p:nvPr>
            <p:ph type="subTitle" idx="1" hasCustomPrompt="1"/>
          </p:nvPr>
        </p:nvSpPr>
        <p:spPr>
          <a:xfrm>
            <a:off x="401032" y="4180829"/>
            <a:ext cx="6819746" cy="492693"/>
          </a:xfrm>
        </p:spPr>
        <p:txBody>
          <a:bodyPr/>
          <a:lstStyle>
            <a:lvl1pPr marL="0" indent="0" algn="l">
              <a:lnSpc>
                <a:spcPct val="100000"/>
              </a:lnSpc>
              <a:spcBef>
                <a:spcPts val="0"/>
              </a:spcBef>
              <a:buNone/>
              <a:defRPr sz="1800">
                <a:solidFill>
                  <a:schemeClr val="bg1"/>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dirty="0"/>
              <a:t>Klicka och skriv underrubrik eller namn på presentatör</a:t>
            </a:r>
          </a:p>
        </p:txBody>
      </p:sp>
      <p:grpSp>
        <p:nvGrpSpPr>
          <p:cNvPr id="16" name="Region Östergötland">
            <a:extLst>
              <a:ext uri="{FF2B5EF4-FFF2-40B4-BE49-F238E27FC236}">
                <a16:creationId xmlns:a16="http://schemas.microsoft.com/office/drawing/2014/main" id="{EC3CEBBE-EAE5-46D3-9D82-C51D007C49BF}"/>
              </a:ext>
              <a:ext uri="{C183D7F6-B498-43B3-948B-1728B52AA6E4}">
                <adec:decorative xmlns:adec="http://schemas.microsoft.com/office/drawing/2017/decorative" val="1"/>
              </a:ext>
            </a:extLst>
          </p:cNvPr>
          <p:cNvGrpSpPr/>
          <p:nvPr userDrawn="1"/>
        </p:nvGrpSpPr>
        <p:grpSpPr>
          <a:xfrm>
            <a:off x="7930585" y="4673844"/>
            <a:ext cx="1212485" cy="324838"/>
            <a:chOff x="10580645" y="6231792"/>
            <a:chExt cx="1616646" cy="433117"/>
          </a:xfrm>
        </p:grpSpPr>
        <p:sp>
          <p:nvSpPr>
            <p:cNvPr id="17" name="Frihandsfigur: Form 16">
              <a:extLst>
                <a:ext uri="{FF2B5EF4-FFF2-40B4-BE49-F238E27FC236}">
                  <a16:creationId xmlns:a16="http://schemas.microsoft.com/office/drawing/2014/main" id="{927FB3D0-70F4-4150-8400-C2E42B255E32}"/>
                </a:ext>
              </a:extLst>
            </p:cNvPr>
            <p:cNvSpPr/>
            <p:nvPr userDrawn="1"/>
          </p:nvSpPr>
          <p:spPr>
            <a:xfrm>
              <a:off x="10580645" y="6231792"/>
              <a:ext cx="1616646" cy="433117"/>
            </a:xfrm>
            <a:custGeom>
              <a:avLst/>
              <a:gdLst>
                <a:gd name="connsiteX0" fmla="*/ 216372 w 1616646"/>
                <a:gd name="connsiteY0" fmla="*/ 0 h 433117"/>
                <a:gd name="connsiteX1" fmla="*/ 1616646 w 1616646"/>
                <a:gd name="connsiteY1" fmla="*/ 0 h 433117"/>
                <a:gd name="connsiteX2" fmla="*/ 1616646 w 1616646"/>
                <a:gd name="connsiteY2" fmla="*/ 0 h 433117"/>
                <a:gd name="connsiteX3" fmla="*/ 1616646 w 1616646"/>
                <a:gd name="connsiteY3" fmla="*/ 433117 h 433117"/>
                <a:gd name="connsiteX4" fmla="*/ 1616646 w 1616646"/>
                <a:gd name="connsiteY4" fmla="*/ 433117 h 433117"/>
                <a:gd name="connsiteX5" fmla="*/ 216372 w 1616646"/>
                <a:gd name="connsiteY5" fmla="*/ 433117 h 433117"/>
                <a:gd name="connsiteX6" fmla="*/ 0 w 1616646"/>
                <a:gd name="connsiteY6" fmla="*/ 216372 h 433117"/>
                <a:gd name="connsiteX7" fmla="*/ 0 w 1616646"/>
                <a:gd name="connsiteY7" fmla="*/ 216372 h 433117"/>
                <a:gd name="connsiteX8" fmla="*/ 0 w 1616646"/>
                <a:gd name="connsiteY8" fmla="*/ 216372 h 433117"/>
                <a:gd name="connsiteX9" fmla="*/ 216372 w 1616646"/>
                <a:gd name="connsiteY9" fmla="*/ 0 h 433117"/>
                <a:gd name="connsiteX10" fmla="*/ 216372 w 1616646"/>
                <a:gd name="connsiteY10" fmla="*/ 0 h 43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646" h="433117">
                  <a:moveTo>
                    <a:pt x="216372" y="0"/>
                  </a:moveTo>
                  <a:lnTo>
                    <a:pt x="1616646" y="0"/>
                  </a:lnTo>
                  <a:lnTo>
                    <a:pt x="1616646" y="0"/>
                  </a:lnTo>
                  <a:lnTo>
                    <a:pt x="1616646" y="433117"/>
                  </a:lnTo>
                  <a:lnTo>
                    <a:pt x="1616646" y="433117"/>
                  </a:lnTo>
                  <a:lnTo>
                    <a:pt x="216372" y="433117"/>
                  </a:lnTo>
                  <a:cubicBezTo>
                    <a:pt x="96827" y="433117"/>
                    <a:pt x="0" y="335917"/>
                    <a:pt x="0" y="216372"/>
                  </a:cubicBezTo>
                  <a:cubicBezTo>
                    <a:pt x="0" y="216372"/>
                    <a:pt x="0" y="216372"/>
                    <a:pt x="0" y="216372"/>
                  </a:cubicBezTo>
                  <a:lnTo>
                    <a:pt x="0" y="216372"/>
                  </a:lnTo>
                  <a:cubicBezTo>
                    <a:pt x="0" y="96828"/>
                    <a:pt x="96827" y="0"/>
                    <a:pt x="216372" y="0"/>
                  </a:cubicBezTo>
                  <a:cubicBezTo>
                    <a:pt x="216372" y="0"/>
                    <a:pt x="216372" y="0"/>
                    <a:pt x="216372" y="0"/>
                  </a:cubicBezTo>
                  <a:close/>
                </a:path>
              </a:pathLst>
            </a:custGeom>
            <a:solidFill>
              <a:srgbClr val="0861CE"/>
            </a:solidFill>
            <a:ln w="3709" cap="flat">
              <a:noFill/>
              <a:prstDash val="solid"/>
              <a:miter/>
            </a:ln>
          </p:spPr>
          <p:txBody>
            <a:bodyPr rtlCol="0" anchor="ctr"/>
            <a:lstStyle/>
            <a:p>
              <a:endParaRPr lang="sv-SE" sz="1350"/>
            </a:p>
          </p:txBody>
        </p:sp>
        <p:sp>
          <p:nvSpPr>
            <p:cNvPr id="18" name="Frihandsfigur: Form 17">
              <a:extLst>
                <a:ext uri="{FF2B5EF4-FFF2-40B4-BE49-F238E27FC236}">
                  <a16:creationId xmlns:a16="http://schemas.microsoft.com/office/drawing/2014/main" id="{41929D1F-3039-4760-8186-90020A1E8F7B}"/>
                </a:ext>
              </a:extLst>
            </p:cNvPr>
            <p:cNvSpPr/>
            <p:nvPr/>
          </p:nvSpPr>
          <p:spPr>
            <a:xfrm>
              <a:off x="10647288" y="6298826"/>
              <a:ext cx="1254307" cy="298698"/>
            </a:xfrm>
            <a:custGeom>
              <a:avLst/>
              <a:gdLst>
                <a:gd name="connsiteX0" fmla="*/ 1053948 w 1254307"/>
                <a:gd name="connsiteY0" fmla="*/ 221958 h 298698"/>
                <a:gd name="connsiteX1" fmla="*/ 1027135 w 1254307"/>
                <a:gd name="connsiteY1" fmla="*/ 228662 h 298698"/>
                <a:gd name="connsiteX2" fmla="*/ 1023783 w 1254307"/>
                <a:gd name="connsiteY2" fmla="*/ 237972 h 298698"/>
                <a:gd name="connsiteX3" fmla="*/ 1039424 w 1254307"/>
                <a:gd name="connsiteY3" fmla="*/ 251379 h 298698"/>
                <a:gd name="connsiteX4" fmla="*/ 1057672 w 1254307"/>
                <a:gd name="connsiteY4" fmla="*/ 245793 h 298698"/>
                <a:gd name="connsiteX5" fmla="*/ 1058417 w 1254307"/>
                <a:gd name="connsiteY5" fmla="*/ 245420 h 298698"/>
                <a:gd name="connsiteX6" fmla="*/ 1058790 w 1254307"/>
                <a:gd name="connsiteY6" fmla="*/ 245048 h 298698"/>
                <a:gd name="connsiteX7" fmla="*/ 1058790 w 1254307"/>
                <a:gd name="connsiteY7" fmla="*/ 221958 h 298698"/>
                <a:gd name="connsiteX8" fmla="*/ 1221535 w 1254307"/>
                <a:gd name="connsiteY8" fmla="*/ 191793 h 298698"/>
                <a:gd name="connsiteX9" fmla="*/ 1196210 w 1254307"/>
                <a:gd name="connsiteY9" fmla="*/ 221958 h 298698"/>
                <a:gd name="connsiteX10" fmla="*/ 1219300 w 1254307"/>
                <a:gd name="connsiteY10" fmla="*/ 250262 h 298698"/>
                <a:gd name="connsiteX11" fmla="*/ 1236059 w 1254307"/>
                <a:gd name="connsiteY11" fmla="*/ 244676 h 298698"/>
                <a:gd name="connsiteX12" fmla="*/ 1236804 w 1254307"/>
                <a:gd name="connsiteY12" fmla="*/ 244303 h 298698"/>
                <a:gd name="connsiteX13" fmla="*/ 1237176 w 1254307"/>
                <a:gd name="connsiteY13" fmla="*/ 196634 h 298698"/>
                <a:gd name="connsiteX14" fmla="*/ 1236804 w 1254307"/>
                <a:gd name="connsiteY14" fmla="*/ 196262 h 298698"/>
                <a:gd name="connsiteX15" fmla="*/ 1221535 w 1254307"/>
                <a:gd name="connsiteY15" fmla="*/ 191793 h 298698"/>
                <a:gd name="connsiteX16" fmla="*/ 850239 w 1254307"/>
                <a:gd name="connsiteY16" fmla="*/ 191793 h 298698"/>
                <a:gd name="connsiteX17" fmla="*/ 827521 w 1254307"/>
                <a:gd name="connsiteY17" fmla="*/ 220841 h 298698"/>
                <a:gd name="connsiteX18" fmla="*/ 850983 w 1254307"/>
                <a:gd name="connsiteY18" fmla="*/ 250634 h 298698"/>
                <a:gd name="connsiteX19" fmla="*/ 873328 w 1254307"/>
                <a:gd name="connsiteY19" fmla="*/ 221586 h 298698"/>
                <a:gd name="connsiteX20" fmla="*/ 850239 w 1254307"/>
                <a:gd name="connsiteY20" fmla="*/ 191793 h 298698"/>
                <a:gd name="connsiteX21" fmla="*/ 761232 w 1254307"/>
                <a:gd name="connsiteY21" fmla="*/ 191793 h 298698"/>
                <a:gd name="connsiteX22" fmla="*/ 735907 w 1254307"/>
                <a:gd name="connsiteY22" fmla="*/ 221213 h 298698"/>
                <a:gd name="connsiteX23" fmla="*/ 758625 w 1254307"/>
                <a:gd name="connsiteY23" fmla="*/ 248772 h 298698"/>
                <a:gd name="connsiteX24" fmla="*/ 776500 w 1254307"/>
                <a:gd name="connsiteY24" fmla="*/ 242813 h 298698"/>
                <a:gd name="connsiteX25" fmla="*/ 776500 w 1254307"/>
                <a:gd name="connsiteY25" fmla="*/ 195144 h 298698"/>
                <a:gd name="connsiteX26" fmla="*/ 776128 w 1254307"/>
                <a:gd name="connsiteY26" fmla="*/ 194772 h 298698"/>
                <a:gd name="connsiteX27" fmla="*/ 761232 w 1254307"/>
                <a:gd name="connsiteY27" fmla="*/ 191793 h 298698"/>
                <a:gd name="connsiteX28" fmla="*/ 611893 w 1254307"/>
                <a:gd name="connsiteY28" fmla="*/ 190675 h 298698"/>
                <a:gd name="connsiteX29" fmla="*/ 589549 w 1254307"/>
                <a:gd name="connsiteY29" fmla="*/ 213020 h 298698"/>
                <a:gd name="connsiteX30" fmla="*/ 589549 w 1254307"/>
                <a:gd name="connsiteY30" fmla="*/ 213765 h 298698"/>
                <a:gd name="connsiteX31" fmla="*/ 630514 w 1254307"/>
                <a:gd name="connsiteY31" fmla="*/ 213765 h 298698"/>
                <a:gd name="connsiteX32" fmla="*/ 630514 w 1254307"/>
                <a:gd name="connsiteY32" fmla="*/ 213020 h 298698"/>
                <a:gd name="connsiteX33" fmla="*/ 611893 w 1254307"/>
                <a:gd name="connsiteY33" fmla="*/ 190675 h 298698"/>
                <a:gd name="connsiteX34" fmla="*/ 467770 w 1254307"/>
                <a:gd name="connsiteY34" fmla="*/ 178014 h 298698"/>
                <a:gd name="connsiteX35" fmla="*/ 493839 w 1254307"/>
                <a:gd name="connsiteY35" fmla="*/ 185090 h 298698"/>
                <a:gd name="connsiteX36" fmla="*/ 487880 w 1254307"/>
                <a:gd name="connsiteY36" fmla="*/ 195890 h 298698"/>
                <a:gd name="connsiteX37" fmla="*/ 468887 w 1254307"/>
                <a:gd name="connsiteY37" fmla="*/ 190676 h 298698"/>
                <a:gd name="connsiteX38" fmla="*/ 454735 w 1254307"/>
                <a:gd name="connsiteY38" fmla="*/ 201104 h 298698"/>
                <a:gd name="connsiteX39" fmla="*/ 469632 w 1254307"/>
                <a:gd name="connsiteY39" fmla="*/ 213766 h 298698"/>
                <a:gd name="connsiteX40" fmla="*/ 470749 w 1254307"/>
                <a:gd name="connsiteY40" fmla="*/ 214138 h 298698"/>
                <a:gd name="connsiteX41" fmla="*/ 494956 w 1254307"/>
                <a:gd name="connsiteY41" fmla="*/ 239835 h 298698"/>
                <a:gd name="connsiteX42" fmla="*/ 464046 w 1254307"/>
                <a:gd name="connsiteY42" fmla="*/ 264787 h 298698"/>
                <a:gd name="connsiteX43" fmla="*/ 434625 w 1254307"/>
                <a:gd name="connsiteY43" fmla="*/ 256593 h 298698"/>
                <a:gd name="connsiteX44" fmla="*/ 440584 w 1254307"/>
                <a:gd name="connsiteY44" fmla="*/ 245421 h 298698"/>
                <a:gd name="connsiteX45" fmla="*/ 462184 w 1254307"/>
                <a:gd name="connsiteY45" fmla="*/ 251752 h 298698"/>
                <a:gd name="connsiteX46" fmla="*/ 477453 w 1254307"/>
                <a:gd name="connsiteY46" fmla="*/ 240580 h 298698"/>
                <a:gd name="connsiteX47" fmla="*/ 461811 w 1254307"/>
                <a:gd name="connsiteY47" fmla="*/ 227545 h 298698"/>
                <a:gd name="connsiteX48" fmla="*/ 459204 w 1254307"/>
                <a:gd name="connsiteY48" fmla="*/ 226428 h 298698"/>
                <a:gd name="connsiteX49" fmla="*/ 437604 w 1254307"/>
                <a:gd name="connsiteY49" fmla="*/ 202221 h 298698"/>
                <a:gd name="connsiteX50" fmla="*/ 467770 w 1254307"/>
                <a:gd name="connsiteY50" fmla="*/ 178014 h 298698"/>
                <a:gd name="connsiteX51" fmla="*/ 1134762 w 1254307"/>
                <a:gd name="connsiteY51" fmla="*/ 177641 h 298698"/>
                <a:gd name="connsiteX52" fmla="*/ 1155245 w 1254307"/>
                <a:gd name="connsiteY52" fmla="*/ 185089 h 298698"/>
                <a:gd name="connsiteX53" fmla="*/ 1163438 w 1254307"/>
                <a:gd name="connsiteY53" fmla="*/ 215627 h 298698"/>
                <a:gd name="connsiteX54" fmla="*/ 1163438 w 1254307"/>
                <a:gd name="connsiteY54" fmla="*/ 262551 h 298698"/>
                <a:gd name="connsiteX55" fmla="*/ 1146307 w 1254307"/>
                <a:gd name="connsiteY55" fmla="*/ 262551 h 298698"/>
                <a:gd name="connsiteX56" fmla="*/ 1146307 w 1254307"/>
                <a:gd name="connsiteY56" fmla="*/ 217489 h 298698"/>
                <a:gd name="connsiteX57" fmla="*/ 1142210 w 1254307"/>
                <a:gd name="connsiteY57" fmla="*/ 196262 h 298698"/>
                <a:gd name="connsiteX58" fmla="*/ 1131038 w 1254307"/>
                <a:gd name="connsiteY58" fmla="*/ 192538 h 298698"/>
                <a:gd name="connsiteX59" fmla="*/ 1112045 w 1254307"/>
                <a:gd name="connsiteY59" fmla="*/ 198869 h 298698"/>
                <a:gd name="connsiteX60" fmla="*/ 1111672 w 1254307"/>
                <a:gd name="connsiteY60" fmla="*/ 199241 h 298698"/>
                <a:gd name="connsiteX61" fmla="*/ 1111672 w 1254307"/>
                <a:gd name="connsiteY61" fmla="*/ 262924 h 298698"/>
                <a:gd name="connsiteX62" fmla="*/ 1094169 w 1254307"/>
                <a:gd name="connsiteY62" fmla="*/ 262924 h 298698"/>
                <a:gd name="connsiteX63" fmla="*/ 1094169 w 1254307"/>
                <a:gd name="connsiteY63" fmla="*/ 180248 h 298698"/>
                <a:gd name="connsiteX64" fmla="*/ 1109066 w 1254307"/>
                <a:gd name="connsiteY64" fmla="*/ 180248 h 298698"/>
                <a:gd name="connsiteX65" fmla="*/ 1109066 w 1254307"/>
                <a:gd name="connsiteY65" fmla="*/ 187324 h 298698"/>
                <a:gd name="connsiteX66" fmla="*/ 1110183 w 1254307"/>
                <a:gd name="connsiteY66" fmla="*/ 186207 h 298698"/>
                <a:gd name="connsiteX67" fmla="*/ 1134762 w 1254307"/>
                <a:gd name="connsiteY67" fmla="*/ 177641 h 298698"/>
                <a:gd name="connsiteX68" fmla="*/ 1043148 w 1254307"/>
                <a:gd name="connsiteY68" fmla="*/ 177641 h 298698"/>
                <a:gd name="connsiteX69" fmla="*/ 1068845 w 1254307"/>
                <a:gd name="connsiteY69" fmla="*/ 186207 h 298698"/>
                <a:gd name="connsiteX70" fmla="*/ 1074804 w 1254307"/>
                <a:gd name="connsiteY70" fmla="*/ 211531 h 298698"/>
                <a:gd name="connsiteX71" fmla="*/ 1074804 w 1254307"/>
                <a:gd name="connsiteY71" fmla="*/ 262924 h 298698"/>
                <a:gd name="connsiteX72" fmla="*/ 1059907 w 1254307"/>
                <a:gd name="connsiteY72" fmla="*/ 262924 h 298698"/>
                <a:gd name="connsiteX73" fmla="*/ 1059907 w 1254307"/>
                <a:gd name="connsiteY73" fmla="*/ 255848 h 298698"/>
                <a:gd name="connsiteX74" fmla="*/ 1058790 w 1254307"/>
                <a:gd name="connsiteY74" fmla="*/ 256593 h 298698"/>
                <a:gd name="connsiteX75" fmla="*/ 1034583 w 1254307"/>
                <a:gd name="connsiteY75" fmla="*/ 264414 h 298698"/>
                <a:gd name="connsiteX76" fmla="*/ 1008514 w 1254307"/>
                <a:gd name="connsiteY76" fmla="*/ 238717 h 298698"/>
                <a:gd name="connsiteX77" fmla="*/ 1055066 w 1254307"/>
                <a:gd name="connsiteY77" fmla="*/ 210041 h 298698"/>
                <a:gd name="connsiteX78" fmla="*/ 1058790 w 1254307"/>
                <a:gd name="connsiteY78" fmla="*/ 210041 h 298698"/>
                <a:gd name="connsiteX79" fmla="*/ 1058790 w 1254307"/>
                <a:gd name="connsiteY79" fmla="*/ 205945 h 298698"/>
                <a:gd name="connsiteX80" fmla="*/ 1055810 w 1254307"/>
                <a:gd name="connsiteY80" fmla="*/ 194772 h 298698"/>
                <a:gd name="connsiteX81" fmla="*/ 1041659 w 1254307"/>
                <a:gd name="connsiteY81" fmla="*/ 190676 h 298698"/>
                <a:gd name="connsiteX82" fmla="*/ 1019314 w 1254307"/>
                <a:gd name="connsiteY82" fmla="*/ 197007 h 298698"/>
                <a:gd name="connsiteX83" fmla="*/ 1013355 w 1254307"/>
                <a:gd name="connsiteY83" fmla="*/ 186207 h 298698"/>
                <a:gd name="connsiteX84" fmla="*/ 1043148 w 1254307"/>
                <a:gd name="connsiteY84" fmla="*/ 177641 h 298698"/>
                <a:gd name="connsiteX85" fmla="*/ 851356 w 1254307"/>
                <a:gd name="connsiteY85" fmla="*/ 177641 h 298698"/>
                <a:gd name="connsiteX86" fmla="*/ 891204 w 1254307"/>
                <a:gd name="connsiteY86" fmla="*/ 220469 h 298698"/>
                <a:gd name="connsiteX87" fmla="*/ 849866 w 1254307"/>
                <a:gd name="connsiteY87" fmla="*/ 264413 h 298698"/>
                <a:gd name="connsiteX88" fmla="*/ 810018 w 1254307"/>
                <a:gd name="connsiteY88" fmla="*/ 221586 h 298698"/>
                <a:gd name="connsiteX89" fmla="*/ 851356 w 1254307"/>
                <a:gd name="connsiteY89" fmla="*/ 177641 h 298698"/>
                <a:gd name="connsiteX90" fmla="*/ 761604 w 1254307"/>
                <a:gd name="connsiteY90" fmla="*/ 177641 h 298698"/>
                <a:gd name="connsiteX91" fmla="*/ 793631 w 1254307"/>
                <a:gd name="connsiteY91" fmla="*/ 185834 h 298698"/>
                <a:gd name="connsiteX92" fmla="*/ 793631 w 1254307"/>
                <a:gd name="connsiteY92" fmla="*/ 259200 h 298698"/>
                <a:gd name="connsiteX93" fmla="*/ 785438 w 1254307"/>
                <a:gd name="connsiteY93" fmla="*/ 288248 h 298698"/>
                <a:gd name="connsiteX94" fmla="*/ 756390 w 1254307"/>
                <a:gd name="connsiteY94" fmla="*/ 298675 h 298698"/>
                <a:gd name="connsiteX95" fmla="*/ 721756 w 1254307"/>
                <a:gd name="connsiteY95" fmla="*/ 287503 h 298698"/>
                <a:gd name="connsiteX96" fmla="*/ 728832 w 1254307"/>
                <a:gd name="connsiteY96" fmla="*/ 276331 h 298698"/>
                <a:gd name="connsiteX97" fmla="*/ 754528 w 1254307"/>
                <a:gd name="connsiteY97" fmla="*/ 284524 h 298698"/>
                <a:gd name="connsiteX98" fmla="*/ 770914 w 1254307"/>
                <a:gd name="connsiteY98" fmla="*/ 279682 h 298698"/>
                <a:gd name="connsiteX99" fmla="*/ 776873 w 1254307"/>
                <a:gd name="connsiteY99" fmla="*/ 259944 h 298698"/>
                <a:gd name="connsiteX100" fmla="*/ 776873 w 1254307"/>
                <a:gd name="connsiteY100" fmla="*/ 256220 h 298698"/>
                <a:gd name="connsiteX101" fmla="*/ 775756 w 1254307"/>
                <a:gd name="connsiteY101" fmla="*/ 256965 h 298698"/>
                <a:gd name="connsiteX102" fmla="*/ 775011 w 1254307"/>
                <a:gd name="connsiteY102" fmla="*/ 257338 h 298698"/>
                <a:gd name="connsiteX103" fmla="*/ 754901 w 1254307"/>
                <a:gd name="connsiteY103" fmla="*/ 262551 h 298698"/>
                <a:gd name="connsiteX104" fmla="*/ 718404 w 1254307"/>
                <a:gd name="connsiteY104" fmla="*/ 221958 h 298698"/>
                <a:gd name="connsiteX105" fmla="*/ 761604 w 1254307"/>
                <a:gd name="connsiteY105" fmla="*/ 177641 h 298698"/>
                <a:gd name="connsiteX106" fmla="*/ 706487 w 1254307"/>
                <a:gd name="connsiteY106" fmla="*/ 177641 h 298698"/>
                <a:gd name="connsiteX107" fmla="*/ 714680 w 1254307"/>
                <a:gd name="connsiteY107" fmla="*/ 179131 h 298698"/>
                <a:gd name="connsiteX108" fmla="*/ 710583 w 1254307"/>
                <a:gd name="connsiteY108" fmla="*/ 192538 h 298698"/>
                <a:gd name="connsiteX109" fmla="*/ 705370 w 1254307"/>
                <a:gd name="connsiteY109" fmla="*/ 192165 h 298698"/>
                <a:gd name="connsiteX110" fmla="*/ 680418 w 1254307"/>
                <a:gd name="connsiteY110" fmla="*/ 205572 h 298698"/>
                <a:gd name="connsiteX111" fmla="*/ 680418 w 1254307"/>
                <a:gd name="connsiteY111" fmla="*/ 262551 h 298698"/>
                <a:gd name="connsiteX112" fmla="*/ 663287 w 1254307"/>
                <a:gd name="connsiteY112" fmla="*/ 262551 h 298698"/>
                <a:gd name="connsiteX113" fmla="*/ 663287 w 1254307"/>
                <a:gd name="connsiteY113" fmla="*/ 180248 h 298698"/>
                <a:gd name="connsiteX114" fmla="*/ 678184 w 1254307"/>
                <a:gd name="connsiteY114" fmla="*/ 180248 h 298698"/>
                <a:gd name="connsiteX115" fmla="*/ 678184 w 1254307"/>
                <a:gd name="connsiteY115" fmla="*/ 192910 h 298698"/>
                <a:gd name="connsiteX116" fmla="*/ 679673 w 1254307"/>
                <a:gd name="connsiteY116" fmla="*/ 190303 h 298698"/>
                <a:gd name="connsiteX117" fmla="*/ 706487 w 1254307"/>
                <a:gd name="connsiteY117" fmla="*/ 177641 h 298698"/>
                <a:gd name="connsiteX118" fmla="*/ 611521 w 1254307"/>
                <a:gd name="connsiteY118" fmla="*/ 177641 h 298698"/>
                <a:gd name="connsiteX119" fmla="*/ 646900 w 1254307"/>
                <a:gd name="connsiteY119" fmla="*/ 220096 h 298698"/>
                <a:gd name="connsiteX120" fmla="*/ 646528 w 1254307"/>
                <a:gd name="connsiteY120" fmla="*/ 224565 h 298698"/>
                <a:gd name="connsiteX121" fmla="*/ 646528 w 1254307"/>
                <a:gd name="connsiteY121" fmla="*/ 226055 h 298698"/>
                <a:gd name="connsiteX122" fmla="*/ 589549 w 1254307"/>
                <a:gd name="connsiteY122" fmla="*/ 226055 h 298698"/>
                <a:gd name="connsiteX123" fmla="*/ 589549 w 1254307"/>
                <a:gd name="connsiteY123" fmla="*/ 226800 h 298698"/>
                <a:gd name="connsiteX124" fmla="*/ 589549 w 1254307"/>
                <a:gd name="connsiteY124" fmla="*/ 228662 h 298698"/>
                <a:gd name="connsiteX125" fmla="*/ 614128 w 1254307"/>
                <a:gd name="connsiteY125" fmla="*/ 250634 h 298698"/>
                <a:gd name="connsiteX126" fmla="*/ 636845 w 1254307"/>
                <a:gd name="connsiteY126" fmla="*/ 244675 h 298698"/>
                <a:gd name="connsiteX127" fmla="*/ 642804 w 1254307"/>
                <a:gd name="connsiteY127" fmla="*/ 255848 h 298698"/>
                <a:gd name="connsiteX128" fmla="*/ 612638 w 1254307"/>
                <a:gd name="connsiteY128" fmla="*/ 264413 h 298698"/>
                <a:gd name="connsiteX129" fmla="*/ 572790 w 1254307"/>
                <a:gd name="connsiteY129" fmla="*/ 221586 h 298698"/>
                <a:gd name="connsiteX130" fmla="*/ 611521 w 1254307"/>
                <a:gd name="connsiteY130" fmla="*/ 177641 h 298698"/>
                <a:gd name="connsiteX131" fmla="*/ 372060 w 1254307"/>
                <a:gd name="connsiteY131" fmla="*/ 164979 h 298698"/>
                <a:gd name="connsiteX132" fmla="*/ 339287 w 1254307"/>
                <a:gd name="connsiteY132" fmla="*/ 208179 h 298698"/>
                <a:gd name="connsiteX133" fmla="*/ 373177 w 1254307"/>
                <a:gd name="connsiteY133" fmla="*/ 250262 h 298698"/>
                <a:gd name="connsiteX134" fmla="*/ 406322 w 1254307"/>
                <a:gd name="connsiteY134" fmla="*/ 206689 h 298698"/>
                <a:gd name="connsiteX135" fmla="*/ 372060 w 1254307"/>
                <a:gd name="connsiteY135" fmla="*/ 164979 h 298698"/>
                <a:gd name="connsiteX136" fmla="*/ 915038 w 1254307"/>
                <a:gd name="connsiteY136" fmla="*/ 156041 h 298698"/>
                <a:gd name="connsiteX137" fmla="*/ 932541 w 1254307"/>
                <a:gd name="connsiteY137" fmla="*/ 156041 h 298698"/>
                <a:gd name="connsiteX138" fmla="*/ 932541 w 1254307"/>
                <a:gd name="connsiteY138" fmla="*/ 180248 h 298698"/>
                <a:gd name="connsiteX139" fmla="*/ 957121 w 1254307"/>
                <a:gd name="connsiteY139" fmla="*/ 180248 h 298698"/>
                <a:gd name="connsiteX140" fmla="*/ 957121 w 1254307"/>
                <a:gd name="connsiteY140" fmla="*/ 194027 h 298698"/>
                <a:gd name="connsiteX141" fmla="*/ 932541 w 1254307"/>
                <a:gd name="connsiteY141" fmla="*/ 194027 h 298698"/>
                <a:gd name="connsiteX142" fmla="*/ 932541 w 1254307"/>
                <a:gd name="connsiteY142" fmla="*/ 234248 h 298698"/>
                <a:gd name="connsiteX143" fmla="*/ 944459 w 1254307"/>
                <a:gd name="connsiteY143" fmla="*/ 250262 h 298698"/>
                <a:gd name="connsiteX144" fmla="*/ 955259 w 1254307"/>
                <a:gd name="connsiteY144" fmla="*/ 248027 h 298698"/>
                <a:gd name="connsiteX145" fmla="*/ 959728 w 1254307"/>
                <a:gd name="connsiteY145" fmla="*/ 259944 h 298698"/>
                <a:gd name="connsiteX146" fmla="*/ 940735 w 1254307"/>
                <a:gd name="connsiteY146" fmla="*/ 264786 h 298698"/>
                <a:gd name="connsiteX147" fmla="*/ 920997 w 1254307"/>
                <a:gd name="connsiteY147" fmla="*/ 258082 h 298698"/>
                <a:gd name="connsiteX148" fmla="*/ 915038 w 1254307"/>
                <a:gd name="connsiteY148" fmla="*/ 234248 h 298698"/>
                <a:gd name="connsiteX149" fmla="*/ 915038 w 1254307"/>
                <a:gd name="connsiteY149" fmla="*/ 194027 h 298698"/>
                <a:gd name="connsiteX150" fmla="*/ 900514 w 1254307"/>
                <a:gd name="connsiteY150" fmla="*/ 194027 h 298698"/>
                <a:gd name="connsiteX151" fmla="*/ 900514 w 1254307"/>
                <a:gd name="connsiteY151" fmla="*/ 180248 h 298698"/>
                <a:gd name="connsiteX152" fmla="*/ 915038 w 1254307"/>
                <a:gd name="connsiteY152" fmla="*/ 180248 h 298698"/>
                <a:gd name="connsiteX153" fmla="*/ 519163 w 1254307"/>
                <a:gd name="connsiteY153" fmla="*/ 156041 h 298698"/>
                <a:gd name="connsiteX154" fmla="*/ 536667 w 1254307"/>
                <a:gd name="connsiteY154" fmla="*/ 156041 h 298698"/>
                <a:gd name="connsiteX155" fmla="*/ 536667 w 1254307"/>
                <a:gd name="connsiteY155" fmla="*/ 180248 h 298698"/>
                <a:gd name="connsiteX156" fmla="*/ 561246 w 1254307"/>
                <a:gd name="connsiteY156" fmla="*/ 180248 h 298698"/>
                <a:gd name="connsiteX157" fmla="*/ 561246 w 1254307"/>
                <a:gd name="connsiteY157" fmla="*/ 194027 h 298698"/>
                <a:gd name="connsiteX158" fmla="*/ 536667 w 1254307"/>
                <a:gd name="connsiteY158" fmla="*/ 194027 h 298698"/>
                <a:gd name="connsiteX159" fmla="*/ 536667 w 1254307"/>
                <a:gd name="connsiteY159" fmla="*/ 234248 h 298698"/>
                <a:gd name="connsiteX160" fmla="*/ 548956 w 1254307"/>
                <a:gd name="connsiteY160" fmla="*/ 250262 h 298698"/>
                <a:gd name="connsiteX161" fmla="*/ 559756 w 1254307"/>
                <a:gd name="connsiteY161" fmla="*/ 248027 h 298698"/>
                <a:gd name="connsiteX162" fmla="*/ 564225 w 1254307"/>
                <a:gd name="connsiteY162" fmla="*/ 259944 h 298698"/>
                <a:gd name="connsiteX163" fmla="*/ 544860 w 1254307"/>
                <a:gd name="connsiteY163" fmla="*/ 264786 h 298698"/>
                <a:gd name="connsiteX164" fmla="*/ 525122 w 1254307"/>
                <a:gd name="connsiteY164" fmla="*/ 258082 h 298698"/>
                <a:gd name="connsiteX165" fmla="*/ 519163 w 1254307"/>
                <a:gd name="connsiteY165" fmla="*/ 234248 h 298698"/>
                <a:gd name="connsiteX166" fmla="*/ 519163 w 1254307"/>
                <a:gd name="connsiteY166" fmla="*/ 194027 h 298698"/>
                <a:gd name="connsiteX167" fmla="*/ 504639 w 1254307"/>
                <a:gd name="connsiteY167" fmla="*/ 194027 h 298698"/>
                <a:gd name="connsiteX168" fmla="*/ 504639 w 1254307"/>
                <a:gd name="connsiteY168" fmla="*/ 180248 h 298698"/>
                <a:gd name="connsiteX169" fmla="*/ 519163 w 1254307"/>
                <a:gd name="connsiteY169" fmla="*/ 180248 h 298698"/>
                <a:gd name="connsiteX170" fmla="*/ 976114 w 1254307"/>
                <a:gd name="connsiteY170" fmla="*/ 150828 h 298698"/>
                <a:gd name="connsiteX171" fmla="*/ 993617 w 1254307"/>
                <a:gd name="connsiteY171" fmla="*/ 150828 h 298698"/>
                <a:gd name="connsiteX172" fmla="*/ 993617 w 1254307"/>
                <a:gd name="connsiteY172" fmla="*/ 262552 h 298698"/>
                <a:gd name="connsiteX173" fmla="*/ 976114 w 1254307"/>
                <a:gd name="connsiteY173" fmla="*/ 262552 h 298698"/>
                <a:gd name="connsiteX174" fmla="*/ 866252 w 1254307"/>
                <a:gd name="connsiteY174" fmla="*/ 150828 h 298698"/>
                <a:gd name="connsiteX175" fmla="*/ 875935 w 1254307"/>
                <a:gd name="connsiteY175" fmla="*/ 160883 h 298698"/>
                <a:gd name="connsiteX176" fmla="*/ 866252 w 1254307"/>
                <a:gd name="connsiteY176" fmla="*/ 170566 h 298698"/>
                <a:gd name="connsiteX177" fmla="*/ 856569 w 1254307"/>
                <a:gd name="connsiteY177" fmla="*/ 160511 h 298698"/>
                <a:gd name="connsiteX178" fmla="*/ 866252 w 1254307"/>
                <a:gd name="connsiteY178" fmla="*/ 150828 h 298698"/>
                <a:gd name="connsiteX179" fmla="*/ 834597 w 1254307"/>
                <a:gd name="connsiteY179" fmla="*/ 150828 h 298698"/>
                <a:gd name="connsiteX180" fmla="*/ 844652 w 1254307"/>
                <a:gd name="connsiteY180" fmla="*/ 160511 h 298698"/>
                <a:gd name="connsiteX181" fmla="*/ 834969 w 1254307"/>
                <a:gd name="connsiteY181" fmla="*/ 170566 h 298698"/>
                <a:gd name="connsiteX182" fmla="*/ 824914 w 1254307"/>
                <a:gd name="connsiteY182" fmla="*/ 160883 h 298698"/>
                <a:gd name="connsiteX183" fmla="*/ 834597 w 1254307"/>
                <a:gd name="connsiteY183" fmla="*/ 150828 h 298698"/>
                <a:gd name="connsiteX184" fmla="*/ 1254307 w 1254307"/>
                <a:gd name="connsiteY184" fmla="*/ 150455 h 298698"/>
                <a:gd name="connsiteX185" fmla="*/ 1254307 w 1254307"/>
                <a:gd name="connsiteY185" fmla="*/ 262179 h 298698"/>
                <a:gd name="connsiteX186" fmla="*/ 1239410 w 1254307"/>
                <a:gd name="connsiteY186" fmla="*/ 262179 h 298698"/>
                <a:gd name="connsiteX187" fmla="*/ 1239410 w 1254307"/>
                <a:gd name="connsiteY187" fmla="*/ 255476 h 298698"/>
                <a:gd name="connsiteX188" fmla="*/ 1237921 w 1254307"/>
                <a:gd name="connsiteY188" fmla="*/ 256593 h 298698"/>
                <a:gd name="connsiteX189" fmla="*/ 1215576 w 1254307"/>
                <a:gd name="connsiteY189" fmla="*/ 264414 h 298698"/>
                <a:gd name="connsiteX190" fmla="*/ 1178707 w 1254307"/>
                <a:gd name="connsiteY190" fmla="*/ 222331 h 298698"/>
                <a:gd name="connsiteX191" fmla="*/ 1218555 w 1254307"/>
                <a:gd name="connsiteY191" fmla="*/ 177641 h 298698"/>
                <a:gd name="connsiteX192" fmla="*/ 1235686 w 1254307"/>
                <a:gd name="connsiteY192" fmla="*/ 181738 h 298698"/>
                <a:gd name="connsiteX193" fmla="*/ 1236804 w 1254307"/>
                <a:gd name="connsiteY193" fmla="*/ 182483 h 298698"/>
                <a:gd name="connsiteX194" fmla="*/ 1236804 w 1254307"/>
                <a:gd name="connsiteY194" fmla="*/ 181365 h 298698"/>
                <a:gd name="connsiteX195" fmla="*/ 1236804 w 1254307"/>
                <a:gd name="connsiteY195" fmla="*/ 150827 h 298698"/>
                <a:gd name="connsiteX196" fmla="*/ 373177 w 1254307"/>
                <a:gd name="connsiteY196" fmla="*/ 150455 h 298698"/>
                <a:gd name="connsiteX197" fmla="*/ 424942 w 1254307"/>
                <a:gd name="connsiteY197" fmla="*/ 206689 h 298698"/>
                <a:gd name="connsiteX198" fmla="*/ 372804 w 1254307"/>
                <a:gd name="connsiteY198" fmla="*/ 264786 h 298698"/>
                <a:gd name="connsiteX199" fmla="*/ 321039 w 1254307"/>
                <a:gd name="connsiteY199" fmla="*/ 207434 h 298698"/>
                <a:gd name="connsiteX200" fmla="*/ 373177 w 1254307"/>
                <a:gd name="connsiteY200" fmla="*/ 150455 h 298698"/>
                <a:gd name="connsiteX201" fmla="*/ 388446 w 1254307"/>
                <a:gd name="connsiteY201" fmla="*/ 123269 h 298698"/>
                <a:gd name="connsiteX202" fmla="*/ 397756 w 1254307"/>
                <a:gd name="connsiteY202" fmla="*/ 133697 h 298698"/>
                <a:gd name="connsiteX203" fmla="*/ 388446 w 1254307"/>
                <a:gd name="connsiteY203" fmla="*/ 143007 h 298698"/>
                <a:gd name="connsiteX204" fmla="*/ 379135 w 1254307"/>
                <a:gd name="connsiteY204" fmla="*/ 132579 h 298698"/>
                <a:gd name="connsiteX205" fmla="*/ 388446 w 1254307"/>
                <a:gd name="connsiteY205" fmla="*/ 123269 h 298698"/>
                <a:gd name="connsiteX206" fmla="*/ 357163 w 1254307"/>
                <a:gd name="connsiteY206" fmla="*/ 123269 h 298698"/>
                <a:gd name="connsiteX207" fmla="*/ 367218 w 1254307"/>
                <a:gd name="connsiteY207" fmla="*/ 132952 h 298698"/>
                <a:gd name="connsiteX208" fmla="*/ 367218 w 1254307"/>
                <a:gd name="connsiteY208" fmla="*/ 133324 h 298698"/>
                <a:gd name="connsiteX209" fmla="*/ 357535 w 1254307"/>
                <a:gd name="connsiteY209" fmla="*/ 143007 h 298698"/>
                <a:gd name="connsiteX210" fmla="*/ 347480 w 1254307"/>
                <a:gd name="connsiteY210" fmla="*/ 133324 h 298698"/>
                <a:gd name="connsiteX211" fmla="*/ 357163 w 1254307"/>
                <a:gd name="connsiteY211" fmla="*/ 123269 h 298698"/>
                <a:gd name="connsiteX212" fmla="*/ 465535 w 1254307"/>
                <a:gd name="connsiteY212" fmla="*/ 61820 h 298698"/>
                <a:gd name="connsiteX213" fmla="*/ 450266 w 1254307"/>
                <a:gd name="connsiteY213" fmla="*/ 79324 h 298698"/>
                <a:gd name="connsiteX214" fmla="*/ 464045 w 1254307"/>
                <a:gd name="connsiteY214" fmla="*/ 95710 h 298698"/>
                <a:gd name="connsiteX215" fmla="*/ 474845 w 1254307"/>
                <a:gd name="connsiteY215" fmla="*/ 91986 h 298698"/>
                <a:gd name="connsiteX216" fmla="*/ 474845 w 1254307"/>
                <a:gd name="connsiteY216" fmla="*/ 63683 h 298698"/>
                <a:gd name="connsiteX217" fmla="*/ 474473 w 1254307"/>
                <a:gd name="connsiteY217" fmla="*/ 63683 h 298698"/>
                <a:gd name="connsiteX218" fmla="*/ 465535 w 1254307"/>
                <a:gd name="connsiteY218" fmla="*/ 61820 h 298698"/>
                <a:gd name="connsiteX219" fmla="*/ 546721 w 1254307"/>
                <a:gd name="connsiteY219" fmla="*/ 61448 h 298698"/>
                <a:gd name="connsiteX220" fmla="*/ 532942 w 1254307"/>
                <a:gd name="connsiteY220" fmla="*/ 78952 h 298698"/>
                <a:gd name="connsiteX221" fmla="*/ 547094 w 1254307"/>
                <a:gd name="connsiteY221" fmla="*/ 96828 h 298698"/>
                <a:gd name="connsiteX222" fmla="*/ 560873 w 1254307"/>
                <a:gd name="connsiteY222" fmla="*/ 79324 h 298698"/>
                <a:gd name="connsiteX223" fmla="*/ 546721 w 1254307"/>
                <a:gd name="connsiteY223" fmla="*/ 61448 h 298698"/>
                <a:gd name="connsiteX224" fmla="*/ 409301 w 1254307"/>
                <a:gd name="connsiteY224" fmla="*/ 61076 h 298698"/>
                <a:gd name="connsiteX225" fmla="*/ 395894 w 1254307"/>
                <a:gd name="connsiteY225" fmla="*/ 74483 h 298698"/>
                <a:gd name="connsiteX226" fmla="*/ 395894 w 1254307"/>
                <a:gd name="connsiteY226" fmla="*/ 75228 h 298698"/>
                <a:gd name="connsiteX227" fmla="*/ 420474 w 1254307"/>
                <a:gd name="connsiteY227" fmla="*/ 75228 h 298698"/>
                <a:gd name="connsiteX228" fmla="*/ 420474 w 1254307"/>
                <a:gd name="connsiteY228" fmla="*/ 74483 h 298698"/>
                <a:gd name="connsiteX229" fmla="*/ 409301 w 1254307"/>
                <a:gd name="connsiteY229" fmla="*/ 61076 h 298698"/>
                <a:gd name="connsiteX230" fmla="*/ 500170 w 1254307"/>
                <a:gd name="connsiteY230" fmla="*/ 57724 h 298698"/>
                <a:gd name="connsiteX231" fmla="*/ 509853 w 1254307"/>
                <a:gd name="connsiteY231" fmla="*/ 57724 h 298698"/>
                <a:gd name="connsiteX232" fmla="*/ 509853 w 1254307"/>
                <a:gd name="connsiteY232" fmla="*/ 103531 h 298698"/>
                <a:gd name="connsiteX233" fmla="*/ 500170 w 1254307"/>
                <a:gd name="connsiteY233" fmla="*/ 103531 h 298698"/>
                <a:gd name="connsiteX234" fmla="*/ 606680 w 1254307"/>
                <a:gd name="connsiteY234" fmla="*/ 54000 h 298698"/>
                <a:gd name="connsiteX235" fmla="*/ 618597 w 1254307"/>
                <a:gd name="connsiteY235" fmla="*/ 58469 h 298698"/>
                <a:gd name="connsiteX236" fmla="*/ 623439 w 1254307"/>
                <a:gd name="connsiteY236" fmla="*/ 76345 h 298698"/>
                <a:gd name="connsiteX237" fmla="*/ 623439 w 1254307"/>
                <a:gd name="connsiteY237" fmla="*/ 103904 h 298698"/>
                <a:gd name="connsiteX238" fmla="*/ 614128 w 1254307"/>
                <a:gd name="connsiteY238" fmla="*/ 103904 h 298698"/>
                <a:gd name="connsiteX239" fmla="*/ 614128 w 1254307"/>
                <a:gd name="connsiteY239" fmla="*/ 103531 h 298698"/>
                <a:gd name="connsiteX240" fmla="*/ 614128 w 1254307"/>
                <a:gd name="connsiteY240" fmla="*/ 77090 h 298698"/>
                <a:gd name="connsiteX241" fmla="*/ 611521 w 1254307"/>
                <a:gd name="connsiteY241" fmla="*/ 64428 h 298698"/>
                <a:gd name="connsiteX242" fmla="*/ 604818 w 1254307"/>
                <a:gd name="connsiteY242" fmla="*/ 62193 h 298698"/>
                <a:gd name="connsiteX243" fmla="*/ 593273 w 1254307"/>
                <a:gd name="connsiteY243" fmla="*/ 65917 h 298698"/>
                <a:gd name="connsiteX244" fmla="*/ 592901 w 1254307"/>
                <a:gd name="connsiteY244" fmla="*/ 65917 h 298698"/>
                <a:gd name="connsiteX245" fmla="*/ 592901 w 1254307"/>
                <a:gd name="connsiteY245" fmla="*/ 103531 h 298698"/>
                <a:gd name="connsiteX246" fmla="*/ 583218 w 1254307"/>
                <a:gd name="connsiteY246" fmla="*/ 103531 h 298698"/>
                <a:gd name="connsiteX247" fmla="*/ 583218 w 1254307"/>
                <a:gd name="connsiteY247" fmla="*/ 55490 h 298698"/>
                <a:gd name="connsiteX248" fmla="*/ 591411 w 1254307"/>
                <a:gd name="connsiteY248" fmla="*/ 55490 h 298698"/>
                <a:gd name="connsiteX249" fmla="*/ 591411 w 1254307"/>
                <a:gd name="connsiteY249" fmla="*/ 59586 h 298698"/>
                <a:gd name="connsiteX250" fmla="*/ 592528 w 1254307"/>
                <a:gd name="connsiteY250" fmla="*/ 58842 h 298698"/>
                <a:gd name="connsiteX251" fmla="*/ 606680 w 1254307"/>
                <a:gd name="connsiteY251" fmla="*/ 54000 h 298698"/>
                <a:gd name="connsiteX252" fmla="*/ 547094 w 1254307"/>
                <a:gd name="connsiteY252" fmla="*/ 54000 h 298698"/>
                <a:gd name="connsiteX253" fmla="*/ 570183 w 1254307"/>
                <a:gd name="connsiteY253" fmla="*/ 79324 h 298698"/>
                <a:gd name="connsiteX254" fmla="*/ 545977 w 1254307"/>
                <a:gd name="connsiteY254" fmla="*/ 105021 h 298698"/>
                <a:gd name="connsiteX255" fmla="*/ 522887 w 1254307"/>
                <a:gd name="connsiteY255" fmla="*/ 79697 h 298698"/>
                <a:gd name="connsiteX256" fmla="*/ 547094 w 1254307"/>
                <a:gd name="connsiteY256" fmla="*/ 54000 h 298698"/>
                <a:gd name="connsiteX257" fmla="*/ 409301 w 1254307"/>
                <a:gd name="connsiteY257" fmla="*/ 54000 h 298698"/>
                <a:gd name="connsiteX258" fmla="*/ 429412 w 1254307"/>
                <a:gd name="connsiteY258" fmla="*/ 78579 h 298698"/>
                <a:gd name="connsiteX259" fmla="*/ 429412 w 1254307"/>
                <a:gd name="connsiteY259" fmla="*/ 81186 h 298698"/>
                <a:gd name="connsiteX260" fmla="*/ 429412 w 1254307"/>
                <a:gd name="connsiteY260" fmla="*/ 81931 h 298698"/>
                <a:gd name="connsiteX261" fmla="*/ 395894 w 1254307"/>
                <a:gd name="connsiteY261" fmla="*/ 81931 h 298698"/>
                <a:gd name="connsiteX262" fmla="*/ 395894 w 1254307"/>
                <a:gd name="connsiteY262" fmla="*/ 82676 h 298698"/>
                <a:gd name="connsiteX263" fmla="*/ 395894 w 1254307"/>
                <a:gd name="connsiteY263" fmla="*/ 84166 h 298698"/>
                <a:gd name="connsiteX264" fmla="*/ 410791 w 1254307"/>
                <a:gd name="connsiteY264" fmla="*/ 97200 h 298698"/>
                <a:gd name="connsiteX265" fmla="*/ 424198 w 1254307"/>
                <a:gd name="connsiteY265" fmla="*/ 93476 h 298698"/>
                <a:gd name="connsiteX266" fmla="*/ 427549 w 1254307"/>
                <a:gd name="connsiteY266" fmla="*/ 99807 h 298698"/>
                <a:gd name="connsiteX267" fmla="*/ 410046 w 1254307"/>
                <a:gd name="connsiteY267" fmla="*/ 104648 h 298698"/>
                <a:gd name="connsiteX268" fmla="*/ 386584 w 1254307"/>
                <a:gd name="connsiteY268" fmla="*/ 79697 h 298698"/>
                <a:gd name="connsiteX269" fmla="*/ 409301 w 1254307"/>
                <a:gd name="connsiteY269" fmla="*/ 54000 h 298698"/>
                <a:gd name="connsiteX270" fmla="*/ 465907 w 1254307"/>
                <a:gd name="connsiteY270" fmla="*/ 53627 h 298698"/>
                <a:gd name="connsiteX271" fmla="*/ 484528 w 1254307"/>
                <a:gd name="connsiteY271" fmla="*/ 58469 h 298698"/>
                <a:gd name="connsiteX272" fmla="*/ 484528 w 1254307"/>
                <a:gd name="connsiteY272" fmla="*/ 103531 h 298698"/>
                <a:gd name="connsiteX273" fmla="*/ 479686 w 1254307"/>
                <a:gd name="connsiteY273" fmla="*/ 120662 h 298698"/>
                <a:gd name="connsiteX274" fmla="*/ 462555 w 1254307"/>
                <a:gd name="connsiteY274" fmla="*/ 126620 h 298698"/>
                <a:gd name="connsiteX275" fmla="*/ 442445 w 1254307"/>
                <a:gd name="connsiteY275" fmla="*/ 120289 h 298698"/>
                <a:gd name="connsiteX276" fmla="*/ 446542 w 1254307"/>
                <a:gd name="connsiteY276" fmla="*/ 113958 h 298698"/>
                <a:gd name="connsiteX277" fmla="*/ 461438 w 1254307"/>
                <a:gd name="connsiteY277" fmla="*/ 119172 h 298698"/>
                <a:gd name="connsiteX278" fmla="*/ 471121 w 1254307"/>
                <a:gd name="connsiteY278" fmla="*/ 115448 h 298698"/>
                <a:gd name="connsiteX279" fmla="*/ 474845 w 1254307"/>
                <a:gd name="connsiteY279" fmla="*/ 103531 h 298698"/>
                <a:gd name="connsiteX280" fmla="*/ 474845 w 1254307"/>
                <a:gd name="connsiteY280" fmla="*/ 99807 h 298698"/>
                <a:gd name="connsiteX281" fmla="*/ 473728 w 1254307"/>
                <a:gd name="connsiteY281" fmla="*/ 100179 h 298698"/>
                <a:gd name="connsiteX282" fmla="*/ 473355 w 1254307"/>
                <a:gd name="connsiteY282" fmla="*/ 100551 h 298698"/>
                <a:gd name="connsiteX283" fmla="*/ 461811 w 1254307"/>
                <a:gd name="connsiteY283" fmla="*/ 103531 h 298698"/>
                <a:gd name="connsiteX284" fmla="*/ 440583 w 1254307"/>
                <a:gd name="connsiteY284" fmla="*/ 79696 h 298698"/>
                <a:gd name="connsiteX285" fmla="*/ 440583 w 1254307"/>
                <a:gd name="connsiteY285" fmla="*/ 77834 h 298698"/>
                <a:gd name="connsiteX286" fmla="*/ 465907 w 1254307"/>
                <a:gd name="connsiteY286" fmla="*/ 53627 h 298698"/>
                <a:gd name="connsiteX287" fmla="*/ 342267 w 1254307"/>
                <a:gd name="connsiteY287" fmla="*/ 45807 h 298698"/>
                <a:gd name="connsiteX288" fmla="*/ 342267 w 1254307"/>
                <a:gd name="connsiteY288" fmla="*/ 68152 h 298698"/>
                <a:gd name="connsiteX289" fmla="*/ 347480 w 1254307"/>
                <a:gd name="connsiteY289" fmla="*/ 68152 h 298698"/>
                <a:gd name="connsiteX290" fmla="*/ 360887 w 1254307"/>
                <a:gd name="connsiteY290" fmla="*/ 64800 h 298698"/>
                <a:gd name="connsiteX291" fmla="*/ 361260 w 1254307"/>
                <a:gd name="connsiteY291" fmla="*/ 48786 h 298698"/>
                <a:gd name="connsiteX292" fmla="*/ 350832 w 1254307"/>
                <a:gd name="connsiteY292" fmla="*/ 45807 h 298698"/>
                <a:gd name="connsiteX293" fmla="*/ 505011 w 1254307"/>
                <a:gd name="connsiteY293" fmla="*/ 37986 h 298698"/>
                <a:gd name="connsiteX294" fmla="*/ 510969 w 1254307"/>
                <a:gd name="connsiteY294" fmla="*/ 43945 h 298698"/>
                <a:gd name="connsiteX295" fmla="*/ 505011 w 1254307"/>
                <a:gd name="connsiteY295" fmla="*/ 49531 h 298698"/>
                <a:gd name="connsiteX296" fmla="*/ 499052 w 1254307"/>
                <a:gd name="connsiteY296" fmla="*/ 43945 h 298698"/>
                <a:gd name="connsiteX297" fmla="*/ 505011 w 1254307"/>
                <a:gd name="connsiteY297" fmla="*/ 37986 h 298698"/>
                <a:gd name="connsiteX298" fmla="*/ 331839 w 1254307"/>
                <a:gd name="connsiteY298" fmla="*/ 37614 h 298698"/>
                <a:gd name="connsiteX299" fmla="*/ 348970 w 1254307"/>
                <a:gd name="connsiteY299" fmla="*/ 37614 h 298698"/>
                <a:gd name="connsiteX300" fmla="*/ 368708 w 1254307"/>
                <a:gd name="connsiteY300" fmla="*/ 42828 h 298698"/>
                <a:gd name="connsiteX301" fmla="*/ 373922 w 1254307"/>
                <a:gd name="connsiteY301" fmla="*/ 55862 h 298698"/>
                <a:gd name="connsiteX302" fmla="*/ 369825 w 1254307"/>
                <a:gd name="connsiteY302" fmla="*/ 67407 h 298698"/>
                <a:gd name="connsiteX303" fmla="*/ 359025 w 1254307"/>
                <a:gd name="connsiteY303" fmla="*/ 72621 h 298698"/>
                <a:gd name="connsiteX304" fmla="*/ 365729 w 1254307"/>
                <a:gd name="connsiteY304" fmla="*/ 76345 h 298698"/>
                <a:gd name="connsiteX305" fmla="*/ 370198 w 1254307"/>
                <a:gd name="connsiteY305" fmla="*/ 84538 h 298698"/>
                <a:gd name="connsiteX306" fmla="*/ 378391 w 1254307"/>
                <a:gd name="connsiteY306" fmla="*/ 103531 h 298698"/>
                <a:gd name="connsiteX307" fmla="*/ 367591 w 1254307"/>
                <a:gd name="connsiteY307" fmla="*/ 103531 h 298698"/>
                <a:gd name="connsiteX308" fmla="*/ 359770 w 1254307"/>
                <a:gd name="connsiteY308" fmla="*/ 86028 h 298698"/>
                <a:gd name="connsiteX309" fmla="*/ 345246 w 1254307"/>
                <a:gd name="connsiteY309" fmla="*/ 75973 h 298698"/>
                <a:gd name="connsiteX310" fmla="*/ 341894 w 1254307"/>
                <a:gd name="connsiteY310" fmla="*/ 75973 h 298698"/>
                <a:gd name="connsiteX311" fmla="*/ 341894 w 1254307"/>
                <a:gd name="connsiteY311" fmla="*/ 103531 h 298698"/>
                <a:gd name="connsiteX312" fmla="*/ 331839 w 1254307"/>
                <a:gd name="connsiteY312" fmla="*/ 103531 h 298698"/>
                <a:gd name="connsiteX313" fmla="*/ 131481 w 1254307"/>
                <a:gd name="connsiteY313" fmla="*/ 12290 h 298698"/>
                <a:gd name="connsiteX314" fmla="*/ 113605 w 1254307"/>
                <a:gd name="connsiteY314" fmla="*/ 36869 h 298698"/>
                <a:gd name="connsiteX315" fmla="*/ 96846 w 1254307"/>
                <a:gd name="connsiteY315" fmla="*/ 17876 h 298698"/>
                <a:gd name="connsiteX316" fmla="*/ 92377 w 1254307"/>
                <a:gd name="connsiteY316" fmla="*/ 52883 h 298698"/>
                <a:gd name="connsiteX317" fmla="*/ 60722 w 1254307"/>
                <a:gd name="connsiteY317" fmla="*/ 38731 h 298698"/>
                <a:gd name="connsiteX318" fmla="*/ 67798 w 1254307"/>
                <a:gd name="connsiteY318" fmla="*/ 62938 h 298698"/>
                <a:gd name="connsiteX319" fmla="*/ 38005 w 1254307"/>
                <a:gd name="connsiteY319" fmla="*/ 65917 h 298698"/>
                <a:gd name="connsiteX320" fmla="*/ 64446 w 1254307"/>
                <a:gd name="connsiteY320" fmla="*/ 80069 h 298698"/>
                <a:gd name="connsiteX321" fmla="*/ 90888 w 1254307"/>
                <a:gd name="connsiteY321" fmla="*/ 91614 h 298698"/>
                <a:gd name="connsiteX322" fmla="*/ 134460 w 1254307"/>
                <a:gd name="connsiteY322" fmla="*/ 141145 h 298698"/>
                <a:gd name="connsiteX323" fmla="*/ 69288 w 1254307"/>
                <a:gd name="connsiteY323" fmla="*/ 128483 h 298698"/>
                <a:gd name="connsiteX324" fmla="*/ 45826 w 1254307"/>
                <a:gd name="connsiteY324" fmla="*/ 111352 h 298698"/>
                <a:gd name="connsiteX325" fmla="*/ 20874 w 1254307"/>
                <a:gd name="connsiteY325" fmla="*/ 96083 h 298698"/>
                <a:gd name="connsiteX326" fmla="*/ 32791 w 1254307"/>
                <a:gd name="connsiteY326" fmla="*/ 123641 h 298698"/>
                <a:gd name="connsiteX327" fmla="*/ 8957 w 1254307"/>
                <a:gd name="connsiteY327" fmla="*/ 128483 h 298698"/>
                <a:gd name="connsiteX328" fmla="*/ 37260 w 1254307"/>
                <a:gd name="connsiteY328" fmla="*/ 149710 h 298698"/>
                <a:gd name="connsiteX329" fmla="*/ 8957 w 1254307"/>
                <a:gd name="connsiteY329" fmla="*/ 170938 h 298698"/>
                <a:gd name="connsiteX330" fmla="*/ 32791 w 1254307"/>
                <a:gd name="connsiteY330" fmla="*/ 175779 h 298698"/>
                <a:gd name="connsiteX331" fmla="*/ 20874 w 1254307"/>
                <a:gd name="connsiteY331" fmla="*/ 203338 h 298698"/>
                <a:gd name="connsiteX332" fmla="*/ 45453 w 1254307"/>
                <a:gd name="connsiteY332" fmla="*/ 188069 h 298698"/>
                <a:gd name="connsiteX333" fmla="*/ 68915 w 1254307"/>
                <a:gd name="connsiteY333" fmla="*/ 170566 h 298698"/>
                <a:gd name="connsiteX334" fmla="*/ 134088 w 1254307"/>
                <a:gd name="connsiteY334" fmla="*/ 157903 h 298698"/>
                <a:gd name="connsiteX335" fmla="*/ 90515 w 1254307"/>
                <a:gd name="connsiteY335" fmla="*/ 207434 h 298698"/>
                <a:gd name="connsiteX336" fmla="*/ 64074 w 1254307"/>
                <a:gd name="connsiteY336" fmla="*/ 218979 h 298698"/>
                <a:gd name="connsiteX337" fmla="*/ 37633 w 1254307"/>
                <a:gd name="connsiteY337" fmla="*/ 233131 h 298698"/>
                <a:gd name="connsiteX338" fmla="*/ 67426 w 1254307"/>
                <a:gd name="connsiteY338" fmla="*/ 236110 h 298698"/>
                <a:gd name="connsiteX339" fmla="*/ 58860 w 1254307"/>
                <a:gd name="connsiteY339" fmla="*/ 259572 h 298698"/>
                <a:gd name="connsiteX340" fmla="*/ 91260 w 1254307"/>
                <a:gd name="connsiteY340" fmla="*/ 246166 h 298698"/>
                <a:gd name="connsiteX341" fmla="*/ 96102 w 1254307"/>
                <a:gd name="connsiteY341" fmla="*/ 280800 h 298698"/>
                <a:gd name="connsiteX342" fmla="*/ 112488 w 1254307"/>
                <a:gd name="connsiteY342" fmla="*/ 261807 h 298698"/>
                <a:gd name="connsiteX343" fmla="*/ 130364 w 1254307"/>
                <a:gd name="connsiteY343" fmla="*/ 286386 h 298698"/>
                <a:gd name="connsiteX344" fmla="*/ 129619 w 1254307"/>
                <a:gd name="connsiteY344" fmla="*/ 256593 h 298698"/>
                <a:gd name="connsiteX345" fmla="*/ 126639 w 1254307"/>
                <a:gd name="connsiteY345" fmla="*/ 228290 h 298698"/>
                <a:gd name="connsiteX346" fmla="*/ 147867 w 1254307"/>
                <a:gd name="connsiteY346" fmla="*/ 165724 h 298698"/>
                <a:gd name="connsiteX347" fmla="*/ 169095 w 1254307"/>
                <a:gd name="connsiteY347" fmla="*/ 228290 h 298698"/>
                <a:gd name="connsiteX348" fmla="*/ 166115 w 1254307"/>
                <a:gd name="connsiteY348" fmla="*/ 256593 h 298698"/>
                <a:gd name="connsiteX349" fmla="*/ 165370 w 1254307"/>
                <a:gd name="connsiteY349" fmla="*/ 286386 h 298698"/>
                <a:gd name="connsiteX350" fmla="*/ 183246 w 1254307"/>
                <a:gd name="connsiteY350" fmla="*/ 261807 h 298698"/>
                <a:gd name="connsiteX351" fmla="*/ 199632 w 1254307"/>
                <a:gd name="connsiteY351" fmla="*/ 280800 h 298698"/>
                <a:gd name="connsiteX352" fmla="*/ 204474 w 1254307"/>
                <a:gd name="connsiteY352" fmla="*/ 246166 h 298698"/>
                <a:gd name="connsiteX353" fmla="*/ 236874 w 1254307"/>
                <a:gd name="connsiteY353" fmla="*/ 259572 h 298698"/>
                <a:gd name="connsiteX354" fmla="*/ 229053 w 1254307"/>
                <a:gd name="connsiteY354" fmla="*/ 236110 h 298698"/>
                <a:gd name="connsiteX355" fmla="*/ 258846 w 1254307"/>
                <a:gd name="connsiteY355" fmla="*/ 233131 h 298698"/>
                <a:gd name="connsiteX356" fmla="*/ 232405 w 1254307"/>
                <a:gd name="connsiteY356" fmla="*/ 218979 h 298698"/>
                <a:gd name="connsiteX357" fmla="*/ 205963 w 1254307"/>
                <a:gd name="connsiteY357" fmla="*/ 207434 h 298698"/>
                <a:gd name="connsiteX358" fmla="*/ 162391 w 1254307"/>
                <a:gd name="connsiteY358" fmla="*/ 157903 h 298698"/>
                <a:gd name="connsiteX359" fmla="*/ 227563 w 1254307"/>
                <a:gd name="connsiteY359" fmla="*/ 170566 h 298698"/>
                <a:gd name="connsiteX360" fmla="*/ 251025 w 1254307"/>
                <a:gd name="connsiteY360" fmla="*/ 187697 h 298698"/>
                <a:gd name="connsiteX361" fmla="*/ 275977 w 1254307"/>
                <a:gd name="connsiteY361" fmla="*/ 202966 h 298698"/>
                <a:gd name="connsiteX362" fmla="*/ 264060 w 1254307"/>
                <a:gd name="connsiteY362" fmla="*/ 175407 h 298698"/>
                <a:gd name="connsiteX363" fmla="*/ 289384 w 1254307"/>
                <a:gd name="connsiteY363" fmla="*/ 170938 h 298698"/>
                <a:gd name="connsiteX364" fmla="*/ 261081 w 1254307"/>
                <a:gd name="connsiteY364" fmla="*/ 149710 h 298698"/>
                <a:gd name="connsiteX365" fmla="*/ 289384 w 1254307"/>
                <a:gd name="connsiteY365" fmla="*/ 128483 h 298698"/>
                <a:gd name="connsiteX366" fmla="*/ 265550 w 1254307"/>
                <a:gd name="connsiteY366" fmla="*/ 123641 h 298698"/>
                <a:gd name="connsiteX367" fmla="*/ 277467 w 1254307"/>
                <a:gd name="connsiteY367" fmla="*/ 96083 h 298698"/>
                <a:gd name="connsiteX368" fmla="*/ 252515 w 1254307"/>
                <a:gd name="connsiteY368" fmla="*/ 111352 h 298698"/>
                <a:gd name="connsiteX369" fmla="*/ 229053 w 1254307"/>
                <a:gd name="connsiteY369" fmla="*/ 128483 h 298698"/>
                <a:gd name="connsiteX370" fmla="*/ 163881 w 1254307"/>
                <a:gd name="connsiteY370" fmla="*/ 141145 h 298698"/>
                <a:gd name="connsiteX371" fmla="*/ 207453 w 1254307"/>
                <a:gd name="connsiteY371" fmla="*/ 91614 h 298698"/>
                <a:gd name="connsiteX372" fmla="*/ 233894 w 1254307"/>
                <a:gd name="connsiteY372" fmla="*/ 80069 h 298698"/>
                <a:gd name="connsiteX373" fmla="*/ 260336 w 1254307"/>
                <a:gd name="connsiteY373" fmla="*/ 65917 h 298698"/>
                <a:gd name="connsiteX374" fmla="*/ 230543 w 1254307"/>
                <a:gd name="connsiteY374" fmla="*/ 62938 h 298698"/>
                <a:gd name="connsiteX375" fmla="*/ 237619 w 1254307"/>
                <a:gd name="connsiteY375" fmla="*/ 38731 h 298698"/>
                <a:gd name="connsiteX376" fmla="*/ 205963 w 1254307"/>
                <a:gd name="connsiteY376" fmla="*/ 52883 h 298698"/>
                <a:gd name="connsiteX377" fmla="*/ 201495 w 1254307"/>
                <a:gd name="connsiteY377" fmla="*/ 17876 h 298698"/>
                <a:gd name="connsiteX378" fmla="*/ 184363 w 1254307"/>
                <a:gd name="connsiteY378" fmla="*/ 36869 h 298698"/>
                <a:gd name="connsiteX379" fmla="*/ 166488 w 1254307"/>
                <a:gd name="connsiteY379" fmla="*/ 12290 h 298698"/>
                <a:gd name="connsiteX380" fmla="*/ 167232 w 1254307"/>
                <a:gd name="connsiteY380" fmla="*/ 42083 h 298698"/>
                <a:gd name="connsiteX381" fmla="*/ 170212 w 1254307"/>
                <a:gd name="connsiteY381" fmla="*/ 70386 h 298698"/>
                <a:gd name="connsiteX382" fmla="*/ 148984 w 1254307"/>
                <a:gd name="connsiteY382" fmla="*/ 132952 h 298698"/>
                <a:gd name="connsiteX383" fmla="*/ 127757 w 1254307"/>
                <a:gd name="connsiteY383" fmla="*/ 70386 h 298698"/>
                <a:gd name="connsiteX384" fmla="*/ 130736 w 1254307"/>
                <a:gd name="connsiteY384" fmla="*/ 42083 h 298698"/>
                <a:gd name="connsiteX385" fmla="*/ 131481 w 1254307"/>
                <a:gd name="connsiteY385" fmla="*/ 12290 h 298698"/>
                <a:gd name="connsiteX386" fmla="*/ 134833 w 1254307"/>
                <a:gd name="connsiteY386" fmla="*/ 0 h 298698"/>
                <a:gd name="connsiteX387" fmla="*/ 134833 w 1254307"/>
                <a:gd name="connsiteY387" fmla="*/ 67779 h 298698"/>
                <a:gd name="connsiteX388" fmla="*/ 148239 w 1254307"/>
                <a:gd name="connsiteY388" fmla="*/ 107255 h 298698"/>
                <a:gd name="connsiteX389" fmla="*/ 161646 w 1254307"/>
                <a:gd name="connsiteY389" fmla="*/ 67779 h 298698"/>
                <a:gd name="connsiteX390" fmla="*/ 161646 w 1254307"/>
                <a:gd name="connsiteY390" fmla="*/ 0 h 298698"/>
                <a:gd name="connsiteX391" fmla="*/ 184363 w 1254307"/>
                <a:gd name="connsiteY391" fmla="*/ 19738 h 298698"/>
                <a:gd name="connsiteX392" fmla="*/ 202612 w 1254307"/>
                <a:gd name="connsiteY392" fmla="*/ 9310 h 298698"/>
                <a:gd name="connsiteX393" fmla="*/ 214901 w 1254307"/>
                <a:gd name="connsiteY393" fmla="*/ 34634 h 298698"/>
                <a:gd name="connsiteX394" fmla="*/ 242088 w 1254307"/>
                <a:gd name="connsiteY394" fmla="*/ 32400 h 298698"/>
                <a:gd name="connsiteX395" fmla="*/ 242832 w 1254307"/>
                <a:gd name="connsiteY395" fmla="*/ 53255 h 298698"/>
                <a:gd name="connsiteX396" fmla="*/ 271136 w 1254307"/>
                <a:gd name="connsiteY396" fmla="*/ 62938 h 298698"/>
                <a:gd name="connsiteX397" fmla="*/ 212294 w 1254307"/>
                <a:gd name="connsiteY397" fmla="*/ 96828 h 298698"/>
                <a:gd name="connsiteX398" fmla="*/ 184736 w 1254307"/>
                <a:gd name="connsiteY398" fmla="*/ 128110 h 298698"/>
                <a:gd name="connsiteX399" fmla="*/ 226074 w 1254307"/>
                <a:gd name="connsiteY399" fmla="*/ 119917 h 298698"/>
                <a:gd name="connsiteX400" fmla="*/ 284543 w 1254307"/>
                <a:gd name="connsiteY400" fmla="*/ 85655 h 298698"/>
                <a:gd name="connsiteX401" fmla="*/ 279329 w 1254307"/>
                <a:gd name="connsiteY401" fmla="*/ 115448 h 298698"/>
                <a:gd name="connsiteX402" fmla="*/ 296460 w 1254307"/>
                <a:gd name="connsiteY402" fmla="*/ 125876 h 298698"/>
                <a:gd name="connsiteX403" fmla="*/ 280074 w 1254307"/>
                <a:gd name="connsiteY403" fmla="*/ 149338 h 298698"/>
                <a:gd name="connsiteX404" fmla="*/ 296460 w 1254307"/>
                <a:gd name="connsiteY404" fmla="*/ 173172 h 298698"/>
                <a:gd name="connsiteX405" fmla="*/ 279329 w 1254307"/>
                <a:gd name="connsiteY405" fmla="*/ 183600 h 298698"/>
                <a:gd name="connsiteX406" fmla="*/ 284543 w 1254307"/>
                <a:gd name="connsiteY406" fmla="*/ 213393 h 298698"/>
                <a:gd name="connsiteX407" fmla="*/ 226074 w 1254307"/>
                <a:gd name="connsiteY407" fmla="*/ 179131 h 298698"/>
                <a:gd name="connsiteX408" fmla="*/ 184736 w 1254307"/>
                <a:gd name="connsiteY408" fmla="*/ 170938 h 298698"/>
                <a:gd name="connsiteX409" fmla="*/ 212294 w 1254307"/>
                <a:gd name="connsiteY409" fmla="*/ 202221 h 298698"/>
                <a:gd name="connsiteX410" fmla="*/ 271136 w 1254307"/>
                <a:gd name="connsiteY410" fmla="*/ 236110 h 298698"/>
                <a:gd name="connsiteX411" fmla="*/ 243205 w 1254307"/>
                <a:gd name="connsiteY411" fmla="*/ 245793 h 298698"/>
                <a:gd name="connsiteX412" fmla="*/ 243205 w 1254307"/>
                <a:gd name="connsiteY412" fmla="*/ 265903 h 298698"/>
                <a:gd name="connsiteX413" fmla="*/ 214901 w 1254307"/>
                <a:gd name="connsiteY413" fmla="*/ 264041 h 298698"/>
                <a:gd name="connsiteX414" fmla="*/ 202239 w 1254307"/>
                <a:gd name="connsiteY414" fmla="*/ 289366 h 298698"/>
                <a:gd name="connsiteX415" fmla="*/ 184363 w 1254307"/>
                <a:gd name="connsiteY415" fmla="*/ 278938 h 298698"/>
                <a:gd name="connsiteX416" fmla="*/ 161646 w 1254307"/>
                <a:gd name="connsiteY416" fmla="*/ 298676 h 298698"/>
                <a:gd name="connsiteX417" fmla="*/ 161646 w 1254307"/>
                <a:gd name="connsiteY417" fmla="*/ 230897 h 298698"/>
                <a:gd name="connsiteX418" fmla="*/ 148239 w 1254307"/>
                <a:gd name="connsiteY418" fmla="*/ 191421 h 298698"/>
                <a:gd name="connsiteX419" fmla="*/ 134833 w 1254307"/>
                <a:gd name="connsiteY419" fmla="*/ 230897 h 298698"/>
                <a:gd name="connsiteX420" fmla="*/ 134833 w 1254307"/>
                <a:gd name="connsiteY420" fmla="*/ 298676 h 298698"/>
                <a:gd name="connsiteX421" fmla="*/ 112115 w 1254307"/>
                <a:gd name="connsiteY421" fmla="*/ 278938 h 298698"/>
                <a:gd name="connsiteX422" fmla="*/ 94239 w 1254307"/>
                <a:gd name="connsiteY422" fmla="*/ 289366 h 298698"/>
                <a:gd name="connsiteX423" fmla="*/ 81577 w 1254307"/>
                <a:gd name="connsiteY423" fmla="*/ 264041 h 298698"/>
                <a:gd name="connsiteX424" fmla="*/ 53274 w 1254307"/>
                <a:gd name="connsiteY424" fmla="*/ 265903 h 298698"/>
                <a:gd name="connsiteX425" fmla="*/ 53274 w 1254307"/>
                <a:gd name="connsiteY425" fmla="*/ 245793 h 298698"/>
                <a:gd name="connsiteX426" fmla="*/ 25343 w 1254307"/>
                <a:gd name="connsiteY426" fmla="*/ 236110 h 298698"/>
                <a:gd name="connsiteX427" fmla="*/ 84184 w 1254307"/>
                <a:gd name="connsiteY427" fmla="*/ 202221 h 298698"/>
                <a:gd name="connsiteX428" fmla="*/ 111743 w 1254307"/>
                <a:gd name="connsiteY428" fmla="*/ 170938 h 298698"/>
                <a:gd name="connsiteX429" fmla="*/ 70405 w 1254307"/>
                <a:gd name="connsiteY429" fmla="*/ 179131 h 298698"/>
                <a:gd name="connsiteX430" fmla="*/ 11936 w 1254307"/>
                <a:gd name="connsiteY430" fmla="*/ 213393 h 298698"/>
                <a:gd name="connsiteX431" fmla="*/ 17150 w 1254307"/>
                <a:gd name="connsiteY431" fmla="*/ 183600 h 298698"/>
                <a:gd name="connsiteX432" fmla="*/ 19 w 1254307"/>
                <a:gd name="connsiteY432" fmla="*/ 173172 h 298698"/>
                <a:gd name="connsiteX433" fmla="*/ 16405 w 1254307"/>
                <a:gd name="connsiteY433" fmla="*/ 149710 h 298698"/>
                <a:gd name="connsiteX434" fmla="*/ 19 w 1254307"/>
                <a:gd name="connsiteY434" fmla="*/ 126248 h 298698"/>
                <a:gd name="connsiteX435" fmla="*/ 17150 w 1254307"/>
                <a:gd name="connsiteY435" fmla="*/ 115821 h 298698"/>
                <a:gd name="connsiteX436" fmla="*/ 11936 w 1254307"/>
                <a:gd name="connsiteY436" fmla="*/ 86028 h 298698"/>
                <a:gd name="connsiteX437" fmla="*/ 70405 w 1254307"/>
                <a:gd name="connsiteY437" fmla="*/ 120290 h 298698"/>
                <a:gd name="connsiteX438" fmla="*/ 111743 w 1254307"/>
                <a:gd name="connsiteY438" fmla="*/ 128483 h 298698"/>
                <a:gd name="connsiteX439" fmla="*/ 84184 w 1254307"/>
                <a:gd name="connsiteY439" fmla="*/ 97200 h 298698"/>
                <a:gd name="connsiteX440" fmla="*/ 25343 w 1254307"/>
                <a:gd name="connsiteY440" fmla="*/ 63683 h 298698"/>
                <a:gd name="connsiteX441" fmla="*/ 53646 w 1254307"/>
                <a:gd name="connsiteY441" fmla="*/ 53628 h 298698"/>
                <a:gd name="connsiteX442" fmla="*/ 54391 w 1254307"/>
                <a:gd name="connsiteY442" fmla="*/ 32400 h 298698"/>
                <a:gd name="connsiteX443" fmla="*/ 81577 w 1254307"/>
                <a:gd name="connsiteY443" fmla="*/ 34634 h 298698"/>
                <a:gd name="connsiteX444" fmla="*/ 93867 w 1254307"/>
                <a:gd name="connsiteY444" fmla="*/ 9310 h 298698"/>
                <a:gd name="connsiteX445" fmla="*/ 112115 w 1254307"/>
                <a:gd name="connsiteY445" fmla="*/ 19738 h 298698"/>
                <a:gd name="connsiteX446" fmla="*/ 134833 w 1254307"/>
                <a:gd name="connsiteY446" fmla="*/ 0 h 29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Lst>
              <a:rect l="l" t="t" r="r" b="b"/>
              <a:pathLst>
                <a:path w="1254307" h="298698">
                  <a:moveTo>
                    <a:pt x="1053948" y="221958"/>
                  </a:moveTo>
                  <a:cubicBezTo>
                    <a:pt x="1040541" y="221958"/>
                    <a:pt x="1031604" y="224193"/>
                    <a:pt x="1027135" y="228662"/>
                  </a:cubicBezTo>
                  <a:cubicBezTo>
                    <a:pt x="1024900" y="231269"/>
                    <a:pt x="1023411" y="234620"/>
                    <a:pt x="1023783" y="237972"/>
                  </a:cubicBezTo>
                  <a:cubicBezTo>
                    <a:pt x="1023783" y="246165"/>
                    <a:pt x="1030114" y="251379"/>
                    <a:pt x="1039424" y="251379"/>
                  </a:cubicBezTo>
                  <a:cubicBezTo>
                    <a:pt x="1045755" y="251007"/>
                    <a:pt x="1052086" y="249145"/>
                    <a:pt x="1057672" y="245793"/>
                  </a:cubicBezTo>
                  <a:lnTo>
                    <a:pt x="1058417" y="245420"/>
                  </a:lnTo>
                  <a:lnTo>
                    <a:pt x="1058790" y="245048"/>
                  </a:lnTo>
                  <a:lnTo>
                    <a:pt x="1058790" y="221958"/>
                  </a:lnTo>
                  <a:close/>
                  <a:moveTo>
                    <a:pt x="1221535" y="191793"/>
                  </a:moveTo>
                  <a:cubicBezTo>
                    <a:pt x="1205893" y="191793"/>
                    <a:pt x="1196210" y="203710"/>
                    <a:pt x="1196210" y="221958"/>
                  </a:cubicBezTo>
                  <a:cubicBezTo>
                    <a:pt x="1196210" y="238717"/>
                    <a:pt x="1205521" y="250262"/>
                    <a:pt x="1219300" y="250262"/>
                  </a:cubicBezTo>
                  <a:cubicBezTo>
                    <a:pt x="1225259" y="250262"/>
                    <a:pt x="1231217" y="248400"/>
                    <a:pt x="1236059" y="244676"/>
                  </a:cubicBezTo>
                  <a:lnTo>
                    <a:pt x="1236804" y="244303"/>
                  </a:lnTo>
                  <a:lnTo>
                    <a:pt x="1237176" y="196634"/>
                  </a:lnTo>
                  <a:lnTo>
                    <a:pt x="1236804" y="196262"/>
                  </a:lnTo>
                  <a:cubicBezTo>
                    <a:pt x="1232335" y="193283"/>
                    <a:pt x="1227121" y="191793"/>
                    <a:pt x="1221535" y="191793"/>
                  </a:cubicBezTo>
                  <a:close/>
                  <a:moveTo>
                    <a:pt x="850239" y="191793"/>
                  </a:moveTo>
                  <a:cubicBezTo>
                    <a:pt x="836459" y="191793"/>
                    <a:pt x="827521" y="203338"/>
                    <a:pt x="827521" y="220841"/>
                  </a:cubicBezTo>
                  <a:cubicBezTo>
                    <a:pt x="827521" y="238344"/>
                    <a:pt x="837204" y="250634"/>
                    <a:pt x="850983" y="250634"/>
                  </a:cubicBezTo>
                  <a:cubicBezTo>
                    <a:pt x="864763" y="250634"/>
                    <a:pt x="873328" y="239089"/>
                    <a:pt x="873328" y="221586"/>
                  </a:cubicBezTo>
                  <a:cubicBezTo>
                    <a:pt x="873328" y="204082"/>
                    <a:pt x="864018" y="191793"/>
                    <a:pt x="850239" y="191793"/>
                  </a:cubicBezTo>
                  <a:close/>
                  <a:moveTo>
                    <a:pt x="761232" y="191793"/>
                  </a:moveTo>
                  <a:cubicBezTo>
                    <a:pt x="745963" y="191793"/>
                    <a:pt x="735907" y="203710"/>
                    <a:pt x="735907" y="221213"/>
                  </a:cubicBezTo>
                  <a:cubicBezTo>
                    <a:pt x="735907" y="237600"/>
                    <a:pt x="745218" y="248772"/>
                    <a:pt x="758625" y="248772"/>
                  </a:cubicBezTo>
                  <a:cubicBezTo>
                    <a:pt x="764956" y="248772"/>
                    <a:pt x="770914" y="246538"/>
                    <a:pt x="776500" y="242813"/>
                  </a:cubicBezTo>
                  <a:lnTo>
                    <a:pt x="776500" y="195144"/>
                  </a:lnTo>
                  <a:lnTo>
                    <a:pt x="776128" y="194772"/>
                  </a:lnTo>
                  <a:cubicBezTo>
                    <a:pt x="771287" y="192910"/>
                    <a:pt x="766445" y="191793"/>
                    <a:pt x="761232" y="191793"/>
                  </a:cubicBezTo>
                  <a:close/>
                  <a:moveTo>
                    <a:pt x="611893" y="190675"/>
                  </a:moveTo>
                  <a:cubicBezTo>
                    <a:pt x="599976" y="190675"/>
                    <a:pt x="591038" y="199613"/>
                    <a:pt x="589549" y="213020"/>
                  </a:cubicBezTo>
                  <a:lnTo>
                    <a:pt x="589549" y="213765"/>
                  </a:lnTo>
                  <a:lnTo>
                    <a:pt x="630514" y="213765"/>
                  </a:lnTo>
                  <a:lnTo>
                    <a:pt x="630514" y="213020"/>
                  </a:lnTo>
                  <a:cubicBezTo>
                    <a:pt x="630514" y="202593"/>
                    <a:pt x="625673" y="190675"/>
                    <a:pt x="611893" y="190675"/>
                  </a:cubicBezTo>
                  <a:close/>
                  <a:moveTo>
                    <a:pt x="467770" y="178014"/>
                  </a:moveTo>
                  <a:cubicBezTo>
                    <a:pt x="477080" y="177642"/>
                    <a:pt x="486018" y="180249"/>
                    <a:pt x="493839" y="185090"/>
                  </a:cubicBezTo>
                  <a:lnTo>
                    <a:pt x="487880" y="195890"/>
                  </a:lnTo>
                  <a:cubicBezTo>
                    <a:pt x="481921" y="192538"/>
                    <a:pt x="475590" y="190676"/>
                    <a:pt x="468887" y="190676"/>
                  </a:cubicBezTo>
                  <a:cubicBezTo>
                    <a:pt x="458459" y="190676"/>
                    <a:pt x="454735" y="196262"/>
                    <a:pt x="454735" y="201104"/>
                  </a:cubicBezTo>
                  <a:cubicBezTo>
                    <a:pt x="454735" y="207435"/>
                    <a:pt x="461439" y="210414"/>
                    <a:pt x="469632" y="213766"/>
                  </a:cubicBezTo>
                  <a:lnTo>
                    <a:pt x="470749" y="214138"/>
                  </a:lnTo>
                  <a:cubicBezTo>
                    <a:pt x="481921" y="218980"/>
                    <a:pt x="494956" y="224193"/>
                    <a:pt x="494956" y="239835"/>
                  </a:cubicBezTo>
                  <a:cubicBezTo>
                    <a:pt x="494956" y="255476"/>
                    <a:pt x="483039" y="264787"/>
                    <a:pt x="464046" y="264787"/>
                  </a:cubicBezTo>
                  <a:cubicBezTo>
                    <a:pt x="453618" y="264787"/>
                    <a:pt x="443190" y="261807"/>
                    <a:pt x="434625" y="256593"/>
                  </a:cubicBezTo>
                  <a:lnTo>
                    <a:pt x="440584" y="245421"/>
                  </a:lnTo>
                  <a:cubicBezTo>
                    <a:pt x="447287" y="249145"/>
                    <a:pt x="454735" y="251380"/>
                    <a:pt x="462184" y="251752"/>
                  </a:cubicBezTo>
                  <a:cubicBezTo>
                    <a:pt x="471494" y="251752"/>
                    <a:pt x="477453" y="247283"/>
                    <a:pt x="477453" y="240580"/>
                  </a:cubicBezTo>
                  <a:cubicBezTo>
                    <a:pt x="477453" y="233876"/>
                    <a:pt x="471494" y="231642"/>
                    <a:pt x="461811" y="227545"/>
                  </a:cubicBezTo>
                  <a:lnTo>
                    <a:pt x="459204" y="226428"/>
                  </a:lnTo>
                  <a:cubicBezTo>
                    <a:pt x="449894" y="222704"/>
                    <a:pt x="437604" y="217118"/>
                    <a:pt x="437604" y="202221"/>
                  </a:cubicBezTo>
                  <a:cubicBezTo>
                    <a:pt x="437604" y="187324"/>
                    <a:pt x="449894" y="178014"/>
                    <a:pt x="467770" y="178014"/>
                  </a:cubicBezTo>
                  <a:close/>
                  <a:moveTo>
                    <a:pt x="1134762" y="177641"/>
                  </a:moveTo>
                  <a:cubicBezTo>
                    <a:pt x="1142210" y="177269"/>
                    <a:pt x="1149659" y="179876"/>
                    <a:pt x="1155245" y="185089"/>
                  </a:cubicBezTo>
                  <a:cubicBezTo>
                    <a:pt x="1163438" y="193282"/>
                    <a:pt x="1163438" y="203710"/>
                    <a:pt x="1163438" y="215627"/>
                  </a:cubicBezTo>
                  <a:lnTo>
                    <a:pt x="1163438" y="262551"/>
                  </a:lnTo>
                  <a:lnTo>
                    <a:pt x="1146307" y="262551"/>
                  </a:lnTo>
                  <a:lnTo>
                    <a:pt x="1146307" y="217489"/>
                  </a:lnTo>
                  <a:cubicBezTo>
                    <a:pt x="1146307" y="206317"/>
                    <a:pt x="1146307" y="200358"/>
                    <a:pt x="1142210" y="196262"/>
                  </a:cubicBezTo>
                  <a:cubicBezTo>
                    <a:pt x="1139231" y="193655"/>
                    <a:pt x="1135134" y="192165"/>
                    <a:pt x="1131038" y="192538"/>
                  </a:cubicBezTo>
                  <a:cubicBezTo>
                    <a:pt x="1124334" y="192910"/>
                    <a:pt x="1117631" y="195144"/>
                    <a:pt x="1112045" y="198869"/>
                  </a:cubicBezTo>
                  <a:lnTo>
                    <a:pt x="1111672" y="199241"/>
                  </a:lnTo>
                  <a:lnTo>
                    <a:pt x="1111672" y="262924"/>
                  </a:lnTo>
                  <a:lnTo>
                    <a:pt x="1094169" y="262924"/>
                  </a:lnTo>
                  <a:lnTo>
                    <a:pt x="1094169" y="180248"/>
                  </a:lnTo>
                  <a:lnTo>
                    <a:pt x="1109066" y="180248"/>
                  </a:lnTo>
                  <a:lnTo>
                    <a:pt x="1109066" y="187324"/>
                  </a:lnTo>
                  <a:lnTo>
                    <a:pt x="1110183" y="186207"/>
                  </a:lnTo>
                  <a:cubicBezTo>
                    <a:pt x="1117259" y="180993"/>
                    <a:pt x="1125824" y="178013"/>
                    <a:pt x="1134762" y="177641"/>
                  </a:cubicBezTo>
                  <a:close/>
                  <a:moveTo>
                    <a:pt x="1043148" y="177641"/>
                  </a:moveTo>
                  <a:cubicBezTo>
                    <a:pt x="1055066" y="177641"/>
                    <a:pt x="1062886" y="180248"/>
                    <a:pt x="1068845" y="186207"/>
                  </a:cubicBezTo>
                  <a:cubicBezTo>
                    <a:pt x="1075176" y="192538"/>
                    <a:pt x="1075176" y="200731"/>
                    <a:pt x="1074804" y="211531"/>
                  </a:cubicBezTo>
                  <a:lnTo>
                    <a:pt x="1074804" y="262924"/>
                  </a:lnTo>
                  <a:lnTo>
                    <a:pt x="1059907" y="262924"/>
                  </a:lnTo>
                  <a:lnTo>
                    <a:pt x="1059907" y="255848"/>
                  </a:lnTo>
                  <a:lnTo>
                    <a:pt x="1058790" y="256593"/>
                  </a:lnTo>
                  <a:cubicBezTo>
                    <a:pt x="1051714" y="261434"/>
                    <a:pt x="1043148" y="264414"/>
                    <a:pt x="1034583" y="264414"/>
                  </a:cubicBezTo>
                  <a:cubicBezTo>
                    <a:pt x="1018942" y="264414"/>
                    <a:pt x="1008514" y="253986"/>
                    <a:pt x="1008514" y="238717"/>
                  </a:cubicBezTo>
                  <a:cubicBezTo>
                    <a:pt x="1008514" y="219724"/>
                    <a:pt x="1024155" y="210041"/>
                    <a:pt x="1055066" y="210041"/>
                  </a:cubicBezTo>
                  <a:lnTo>
                    <a:pt x="1058790" y="210041"/>
                  </a:lnTo>
                  <a:lnTo>
                    <a:pt x="1058790" y="205945"/>
                  </a:lnTo>
                  <a:cubicBezTo>
                    <a:pt x="1058790" y="200731"/>
                    <a:pt x="1058790" y="197751"/>
                    <a:pt x="1055810" y="194772"/>
                  </a:cubicBezTo>
                  <a:cubicBezTo>
                    <a:pt x="1052831" y="191793"/>
                    <a:pt x="1048735" y="190676"/>
                    <a:pt x="1041659" y="190676"/>
                  </a:cubicBezTo>
                  <a:cubicBezTo>
                    <a:pt x="1033838" y="191048"/>
                    <a:pt x="1026017" y="193282"/>
                    <a:pt x="1019314" y="197007"/>
                  </a:cubicBezTo>
                  <a:lnTo>
                    <a:pt x="1013355" y="186207"/>
                  </a:lnTo>
                  <a:cubicBezTo>
                    <a:pt x="1021921" y="180248"/>
                    <a:pt x="1032348" y="177269"/>
                    <a:pt x="1043148" y="177641"/>
                  </a:cubicBezTo>
                  <a:close/>
                  <a:moveTo>
                    <a:pt x="851356" y="177641"/>
                  </a:moveTo>
                  <a:cubicBezTo>
                    <a:pt x="875190" y="177641"/>
                    <a:pt x="891204" y="194027"/>
                    <a:pt x="891204" y="220469"/>
                  </a:cubicBezTo>
                  <a:cubicBezTo>
                    <a:pt x="891204" y="246910"/>
                    <a:pt x="874446" y="264413"/>
                    <a:pt x="849866" y="264413"/>
                  </a:cubicBezTo>
                  <a:cubicBezTo>
                    <a:pt x="826032" y="264413"/>
                    <a:pt x="810018" y="248027"/>
                    <a:pt x="810018" y="221586"/>
                  </a:cubicBezTo>
                  <a:cubicBezTo>
                    <a:pt x="810018" y="195144"/>
                    <a:pt x="826777" y="177641"/>
                    <a:pt x="851356" y="177641"/>
                  </a:cubicBezTo>
                  <a:close/>
                  <a:moveTo>
                    <a:pt x="761604" y="177641"/>
                  </a:moveTo>
                  <a:cubicBezTo>
                    <a:pt x="772776" y="178013"/>
                    <a:pt x="783576" y="180620"/>
                    <a:pt x="793631" y="185834"/>
                  </a:cubicBezTo>
                  <a:lnTo>
                    <a:pt x="793631" y="259200"/>
                  </a:lnTo>
                  <a:cubicBezTo>
                    <a:pt x="793631" y="271862"/>
                    <a:pt x="793259" y="280055"/>
                    <a:pt x="785438" y="288248"/>
                  </a:cubicBezTo>
                  <a:cubicBezTo>
                    <a:pt x="778735" y="295324"/>
                    <a:pt x="769052" y="298675"/>
                    <a:pt x="756390" y="298675"/>
                  </a:cubicBezTo>
                  <a:cubicBezTo>
                    <a:pt x="744101" y="299048"/>
                    <a:pt x="731811" y="294951"/>
                    <a:pt x="721756" y="287503"/>
                  </a:cubicBezTo>
                  <a:lnTo>
                    <a:pt x="728832" y="276331"/>
                  </a:lnTo>
                  <a:cubicBezTo>
                    <a:pt x="736652" y="281544"/>
                    <a:pt x="745590" y="284524"/>
                    <a:pt x="754528" y="284524"/>
                  </a:cubicBezTo>
                  <a:cubicBezTo>
                    <a:pt x="760487" y="284896"/>
                    <a:pt x="766073" y="283407"/>
                    <a:pt x="770914" y="279682"/>
                  </a:cubicBezTo>
                  <a:cubicBezTo>
                    <a:pt x="776500" y="274841"/>
                    <a:pt x="776873" y="268138"/>
                    <a:pt x="776873" y="259944"/>
                  </a:cubicBezTo>
                  <a:lnTo>
                    <a:pt x="776873" y="256220"/>
                  </a:lnTo>
                  <a:lnTo>
                    <a:pt x="775756" y="256965"/>
                  </a:lnTo>
                  <a:lnTo>
                    <a:pt x="775011" y="257338"/>
                  </a:lnTo>
                  <a:cubicBezTo>
                    <a:pt x="769052" y="260689"/>
                    <a:pt x="761976" y="262551"/>
                    <a:pt x="754901" y="262551"/>
                  </a:cubicBezTo>
                  <a:cubicBezTo>
                    <a:pt x="729949" y="262551"/>
                    <a:pt x="718404" y="241324"/>
                    <a:pt x="718404" y="221958"/>
                  </a:cubicBezTo>
                  <a:cubicBezTo>
                    <a:pt x="718404" y="196262"/>
                    <a:pt x="736652" y="177641"/>
                    <a:pt x="761604" y="177641"/>
                  </a:cubicBezTo>
                  <a:close/>
                  <a:moveTo>
                    <a:pt x="706487" y="177641"/>
                  </a:moveTo>
                  <a:cubicBezTo>
                    <a:pt x="709466" y="177641"/>
                    <a:pt x="712073" y="178013"/>
                    <a:pt x="714680" y="179131"/>
                  </a:cubicBezTo>
                  <a:lnTo>
                    <a:pt x="710583" y="192538"/>
                  </a:lnTo>
                  <a:cubicBezTo>
                    <a:pt x="708721" y="192165"/>
                    <a:pt x="707232" y="192165"/>
                    <a:pt x="705370" y="192165"/>
                  </a:cubicBezTo>
                  <a:cubicBezTo>
                    <a:pt x="695315" y="192165"/>
                    <a:pt x="686004" y="197007"/>
                    <a:pt x="680418" y="205572"/>
                  </a:cubicBezTo>
                  <a:lnTo>
                    <a:pt x="680418" y="262551"/>
                  </a:lnTo>
                  <a:lnTo>
                    <a:pt x="663287" y="262551"/>
                  </a:lnTo>
                  <a:lnTo>
                    <a:pt x="663287" y="180248"/>
                  </a:lnTo>
                  <a:lnTo>
                    <a:pt x="678184" y="180248"/>
                  </a:lnTo>
                  <a:lnTo>
                    <a:pt x="678184" y="192910"/>
                  </a:lnTo>
                  <a:lnTo>
                    <a:pt x="679673" y="190303"/>
                  </a:lnTo>
                  <a:cubicBezTo>
                    <a:pt x="686377" y="182110"/>
                    <a:pt x="696059" y="177641"/>
                    <a:pt x="706487" y="177641"/>
                  </a:cubicBezTo>
                  <a:close/>
                  <a:moveTo>
                    <a:pt x="611521" y="177641"/>
                  </a:moveTo>
                  <a:cubicBezTo>
                    <a:pt x="633866" y="177641"/>
                    <a:pt x="646900" y="193655"/>
                    <a:pt x="646900" y="220096"/>
                  </a:cubicBezTo>
                  <a:cubicBezTo>
                    <a:pt x="646900" y="221586"/>
                    <a:pt x="646528" y="223448"/>
                    <a:pt x="646528" y="224565"/>
                  </a:cubicBezTo>
                  <a:cubicBezTo>
                    <a:pt x="646528" y="224938"/>
                    <a:pt x="646528" y="225682"/>
                    <a:pt x="646528" y="226055"/>
                  </a:cubicBezTo>
                  <a:lnTo>
                    <a:pt x="589549" y="226055"/>
                  </a:lnTo>
                  <a:lnTo>
                    <a:pt x="589549" y="226800"/>
                  </a:lnTo>
                  <a:cubicBezTo>
                    <a:pt x="589549" y="227544"/>
                    <a:pt x="589549" y="227917"/>
                    <a:pt x="589549" y="228662"/>
                  </a:cubicBezTo>
                  <a:cubicBezTo>
                    <a:pt x="590293" y="241696"/>
                    <a:pt x="601466" y="251379"/>
                    <a:pt x="614128" y="250634"/>
                  </a:cubicBezTo>
                  <a:cubicBezTo>
                    <a:pt x="621949" y="250634"/>
                    <a:pt x="629769" y="248400"/>
                    <a:pt x="636845" y="244675"/>
                  </a:cubicBezTo>
                  <a:lnTo>
                    <a:pt x="642804" y="255848"/>
                  </a:lnTo>
                  <a:cubicBezTo>
                    <a:pt x="633866" y="261434"/>
                    <a:pt x="623438" y="264413"/>
                    <a:pt x="612638" y="264413"/>
                  </a:cubicBezTo>
                  <a:cubicBezTo>
                    <a:pt x="588431" y="264413"/>
                    <a:pt x="572790" y="247282"/>
                    <a:pt x="572790" y="221586"/>
                  </a:cubicBezTo>
                  <a:cubicBezTo>
                    <a:pt x="572790" y="195889"/>
                    <a:pt x="588804" y="177641"/>
                    <a:pt x="611521" y="177641"/>
                  </a:cubicBezTo>
                  <a:close/>
                  <a:moveTo>
                    <a:pt x="372060" y="164979"/>
                  </a:moveTo>
                  <a:cubicBezTo>
                    <a:pt x="352694" y="164979"/>
                    <a:pt x="339287" y="182483"/>
                    <a:pt x="339287" y="208179"/>
                  </a:cubicBezTo>
                  <a:cubicBezTo>
                    <a:pt x="339287" y="232758"/>
                    <a:pt x="353067" y="250262"/>
                    <a:pt x="373177" y="250262"/>
                  </a:cubicBezTo>
                  <a:cubicBezTo>
                    <a:pt x="397756" y="250262"/>
                    <a:pt x="406322" y="227545"/>
                    <a:pt x="406322" y="206689"/>
                  </a:cubicBezTo>
                  <a:cubicBezTo>
                    <a:pt x="406322" y="182110"/>
                    <a:pt x="391425" y="164979"/>
                    <a:pt x="372060" y="164979"/>
                  </a:cubicBezTo>
                  <a:close/>
                  <a:moveTo>
                    <a:pt x="915038" y="156041"/>
                  </a:moveTo>
                  <a:lnTo>
                    <a:pt x="932541" y="156041"/>
                  </a:lnTo>
                  <a:lnTo>
                    <a:pt x="932541" y="180248"/>
                  </a:lnTo>
                  <a:lnTo>
                    <a:pt x="957121" y="180248"/>
                  </a:lnTo>
                  <a:lnTo>
                    <a:pt x="957121" y="194027"/>
                  </a:lnTo>
                  <a:lnTo>
                    <a:pt x="932541" y="194027"/>
                  </a:lnTo>
                  <a:lnTo>
                    <a:pt x="932541" y="234248"/>
                  </a:lnTo>
                  <a:cubicBezTo>
                    <a:pt x="932541" y="240951"/>
                    <a:pt x="932541" y="250262"/>
                    <a:pt x="944459" y="250262"/>
                  </a:cubicBezTo>
                  <a:cubicBezTo>
                    <a:pt x="948183" y="250262"/>
                    <a:pt x="951907" y="249517"/>
                    <a:pt x="955259" y="248027"/>
                  </a:cubicBezTo>
                  <a:lnTo>
                    <a:pt x="959728" y="259944"/>
                  </a:lnTo>
                  <a:cubicBezTo>
                    <a:pt x="953769" y="263296"/>
                    <a:pt x="947066" y="264786"/>
                    <a:pt x="940735" y="264786"/>
                  </a:cubicBezTo>
                  <a:cubicBezTo>
                    <a:pt x="933659" y="265158"/>
                    <a:pt x="926583" y="262924"/>
                    <a:pt x="920997" y="258082"/>
                  </a:cubicBezTo>
                  <a:cubicBezTo>
                    <a:pt x="915038" y="251751"/>
                    <a:pt x="915038" y="244675"/>
                    <a:pt x="915038" y="234248"/>
                  </a:cubicBezTo>
                  <a:lnTo>
                    <a:pt x="915038" y="194027"/>
                  </a:lnTo>
                  <a:lnTo>
                    <a:pt x="900514" y="194027"/>
                  </a:lnTo>
                  <a:lnTo>
                    <a:pt x="900514" y="180248"/>
                  </a:lnTo>
                  <a:lnTo>
                    <a:pt x="915038" y="180248"/>
                  </a:lnTo>
                  <a:close/>
                  <a:moveTo>
                    <a:pt x="519163" y="156041"/>
                  </a:moveTo>
                  <a:lnTo>
                    <a:pt x="536667" y="156041"/>
                  </a:lnTo>
                  <a:lnTo>
                    <a:pt x="536667" y="180248"/>
                  </a:lnTo>
                  <a:lnTo>
                    <a:pt x="561246" y="180248"/>
                  </a:lnTo>
                  <a:lnTo>
                    <a:pt x="561246" y="194027"/>
                  </a:lnTo>
                  <a:lnTo>
                    <a:pt x="536667" y="194027"/>
                  </a:lnTo>
                  <a:lnTo>
                    <a:pt x="536667" y="234248"/>
                  </a:lnTo>
                  <a:cubicBezTo>
                    <a:pt x="536667" y="240951"/>
                    <a:pt x="536667" y="250262"/>
                    <a:pt x="548956" y="250262"/>
                  </a:cubicBezTo>
                  <a:cubicBezTo>
                    <a:pt x="552680" y="250262"/>
                    <a:pt x="556404" y="249517"/>
                    <a:pt x="559756" y="248027"/>
                  </a:cubicBezTo>
                  <a:lnTo>
                    <a:pt x="564225" y="259944"/>
                  </a:lnTo>
                  <a:cubicBezTo>
                    <a:pt x="557894" y="263296"/>
                    <a:pt x="551563" y="264786"/>
                    <a:pt x="544860" y="264786"/>
                  </a:cubicBezTo>
                  <a:cubicBezTo>
                    <a:pt x="537784" y="265158"/>
                    <a:pt x="530708" y="262924"/>
                    <a:pt x="525122" y="258082"/>
                  </a:cubicBezTo>
                  <a:cubicBezTo>
                    <a:pt x="519163" y="251751"/>
                    <a:pt x="519163" y="244675"/>
                    <a:pt x="519163" y="234248"/>
                  </a:cubicBezTo>
                  <a:lnTo>
                    <a:pt x="519163" y="194027"/>
                  </a:lnTo>
                  <a:lnTo>
                    <a:pt x="504639" y="194027"/>
                  </a:lnTo>
                  <a:lnTo>
                    <a:pt x="504639" y="180248"/>
                  </a:lnTo>
                  <a:lnTo>
                    <a:pt x="519163" y="180248"/>
                  </a:lnTo>
                  <a:close/>
                  <a:moveTo>
                    <a:pt x="976114" y="150828"/>
                  </a:moveTo>
                  <a:lnTo>
                    <a:pt x="993617" y="150828"/>
                  </a:lnTo>
                  <a:lnTo>
                    <a:pt x="993617" y="262552"/>
                  </a:lnTo>
                  <a:lnTo>
                    <a:pt x="976114" y="262552"/>
                  </a:lnTo>
                  <a:close/>
                  <a:moveTo>
                    <a:pt x="866252" y="150828"/>
                  </a:moveTo>
                  <a:cubicBezTo>
                    <a:pt x="871838" y="150828"/>
                    <a:pt x="875935" y="155297"/>
                    <a:pt x="875935" y="160883"/>
                  </a:cubicBezTo>
                  <a:cubicBezTo>
                    <a:pt x="875935" y="166097"/>
                    <a:pt x="871838" y="170566"/>
                    <a:pt x="866252" y="170566"/>
                  </a:cubicBezTo>
                  <a:cubicBezTo>
                    <a:pt x="860666" y="170566"/>
                    <a:pt x="856569" y="166097"/>
                    <a:pt x="856569" y="160511"/>
                  </a:cubicBezTo>
                  <a:cubicBezTo>
                    <a:pt x="856569" y="154925"/>
                    <a:pt x="861038" y="150828"/>
                    <a:pt x="866252" y="150828"/>
                  </a:cubicBezTo>
                  <a:close/>
                  <a:moveTo>
                    <a:pt x="834597" y="150828"/>
                  </a:moveTo>
                  <a:cubicBezTo>
                    <a:pt x="840183" y="150828"/>
                    <a:pt x="844652" y="154925"/>
                    <a:pt x="844652" y="160511"/>
                  </a:cubicBezTo>
                  <a:cubicBezTo>
                    <a:pt x="844652" y="166097"/>
                    <a:pt x="840555" y="170566"/>
                    <a:pt x="834969" y="170566"/>
                  </a:cubicBezTo>
                  <a:cubicBezTo>
                    <a:pt x="829383" y="170566"/>
                    <a:pt x="824914" y="166469"/>
                    <a:pt x="824914" y="160883"/>
                  </a:cubicBezTo>
                  <a:cubicBezTo>
                    <a:pt x="824914" y="155297"/>
                    <a:pt x="829011" y="150828"/>
                    <a:pt x="834597" y="150828"/>
                  </a:cubicBezTo>
                  <a:close/>
                  <a:moveTo>
                    <a:pt x="1254307" y="150455"/>
                  </a:moveTo>
                  <a:lnTo>
                    <a:pt x="1254307" y="262179"/>
                  </a:lnTo>
                  <a:lnTo>
                    <a:pt x="1239410" y="262179"/>
                  </a:lnTo>
                  <a:lnTo>
                    <a:pt x="1239410" y="255476"/>
                  </a:lnTo>
                  <a:lnTo>
                    <a:pt x="1237921" y="256593"/>
                  </a:lnTo>
                  <a:cubicBezTo>
                    <a:pt x="1231590" y="261807"/>
                    <a:pt x="1223769" y="264414"/>
                    <a:pt x="1215576" y="264414"/>
                  </a:cubicBezTo>
                  <a:cubicBezTo>
                    <a:pt x="1193604" y="264414"/>
                    <a:pt x="1178707" y="247655"/>
                    <a:pt x="1178707" y="222331"/>
                  </a:cubicBezTo>
                  <a:cubicBezTo>
                    <a:pt x="1178707" y="197007"/>
                    <a:pt x="1195838" y="177641"/>
                    <a:pt x="1218555" y="177641"/>
                  </a:cubicBezTo>
                  <a:cubicBezTo>
                    <a:pt x="1224514" y="177641"/>
                    <a:pt x="1230472" y="178758"/>
                    <a:pt x="1235686" y="181738"/>
                  </a:cubicBezTo>
                  <a:lnTo>
                    <a:pt x="1236804" y="182483"/>
                  </a:lnTo>
                  <a:lnTo>
                    <a:pt x="1236804" y="181365"/>
                  </a:lnTo>
                  <a:lnTo>
                    <a:pt x="1236804" y="150827"/>
                  </a:lnTo>
                  <a:close/>
                  <a:moveTo>
                    <a:pt x="373177" y="150455"/>
                  </a:moveTo>
                  <a:cubicBezTo>
                    <a:pt x="403342" y="150455"/>
                    <a:pt x="424942" y="173545"/>
                    <a:pt x="424942" y="206689"/>
                  </a:cubicBezTo>
                  <a:cubicBezTo>
                    <a:pt x="424942" y="241696"/>
                    <a:pt x="403342" y="264786"/>
                    <a:pt x="372804" y="264786"/>
                  </a:cubicBezTo>
                  <a:cubicBezTo>
                    <a:pt x="342267" y="264786"/>
                    <a:pt x="321039" y="240952"/>
                    <a:pt x="321039" y="207434"/>
                  </a:cubicBezTo>
                  <a:cubicBezTo>
                    <a:pt x="321039" y="173917"/>
                    <a:pt x="342267" y="150455"/>
                    <a:pt x="373177" y="150455"/>
                  </a:cubicBezTo>
                  <a:close/>
                  <a:moveTo>
                    <a:pt x="388446" y="123269"/>
                  </a:moveTo>
                  <a:cubicBezTo>
                    <a:pt x="394032" y="123641"/>
                    <a:pt x="398129" y="128483"/>
                    <a:pt x="397756" y="133697"/>
                  </a:cubicBezTo>
                  <a:cubicBezTo>
                    <a:pt x="397384" y="138538"/>
                    <a:pt x="393660" y="142635"/>
                    <a:pt x="388446" y="143007"/>
                  </a:cubicBezTo>
                  <a:cubicBezTo>
                    <a:pt x="382860" y="142635"/>
                    <a:pt x="378763" y="137793"/>
                    <a:pt x="379135" y="132579"/>
                  </a:cubicBezTo>
                  <a:cubicBezTo>
                    <a:pt x="379508" y="127738"/>
                    <a:pt x="383604" y="123641"/>
                    <a:pt x="388446" y="123269"/>
                  </a:cubicBezTo>
                  <a:close/>
                  <a:moveTo>
                    <a:pt x="357163" y="123269"/>
                  </a:moveTo>
                  <a:cubicBezTo>
                    <a:pt x="362749" y="123269"/>
                    <a:pt x="367218" y="127366"/>
                    <a:pt x="367218" y="132952"/>
                  </a:cubicBezTo>
                  <a:cubicBezTo>
                    <a:pt x="367218" y="132952"/>
                    <a:pt x="367218" y="132952"/>
                    <a:pt x="367218" y="133324"/>
                  </a:cubicBezTo>
                  <a:cubicBezTo>
                    <a:pt x="367218" y="138538"/>
                    <a:pt x="362749" y="142635"/>
                    <a:pt x="357535" y="143007"/>
                  </a:cubicBezTo>
                  <a:cubicBezTo>
                    <a:pt x="351949" y="143007"/>
                    <a:pt x="347480" y="138910"/>
                    <a:pt x="347480" y="133324"/>
                  </a:cubicBezTo>
                  <a:cubicBezTo>
                    <a:pt x="347480" y="127738"/>
                    <a:pt x="351577" y="123269"/>
                    <a:pt x="357163" y="123269"/>
                  </a:cubicBezTo>
                  <a:close/>
                  <a:moveTo>
                    <a:pt x="465535" y="61820"/>
                  </a:moveTo>
                  <a:cubicBezTo>
                    <a:pt x="456224" y="61820"/>
                    <a:pt x="450266" y="68896"/>
                    <a:pt x="450266" y="79324"/>
                  </a:cubicBezTo>
                  <a:cubicBezTo>
                    <a:pt x="450266" y="89007"/>
                    <a:pt x="455852" y="95710"/>
                    <a:pt x="464045" y="95710"/>
                  </a:cubicBezTo>
                  <a:cubicBezTo>
                    <a:pt x="467769" y="95710"/>
                    <a:pt x="471493" y="94220"/>
                    <a:pt x="474845" y="91986"/>
                  </a:cubicBezTo>
                  <a:lnTo>
                    <a:pt x="474845" y="63683"/>
                  </a:lnTo>
                  <a:lnTo>
                    <a:pt x="474473" y="63683"/>
                  </a:lnTo>
                  <a:cubicBezTo>
                    <a:pt x="471493" y="62565"/>
                    <a:pt x="468514" y="61820"/>
                    <a:pt x="465535" y="61820"/>
                  </a:cubicBezTo>
                  <a:close/>
                  <a:moveTo>
                    <a:pt x="546721" y="61448"/>
                  </a:moveTo>
                  <a:cubicBezTo>
                    <a:pt x="538156" y="61448"/>
                    <a:pt x="532942" y="68524"/>
                    <a:pt x="532942" y="78952"/>
                  </a:cubicBezTo>
                  <a:cubicBezTo>
                    <a:pt x="532942" y="89379"/>
                    <a:pt x="538901" y="96828"/>
                    <a:pt x="547094" y="96828"/>
                  </a:cubicBezTo>
                  <a:cubicBezTo>
                    <a:pt x="555287" y="96828"/>
                    <a:pt x="560873" y="89752"/>
                    <a:pt x="560873" y="79324"/>
                  </a:cubicBezTo>
                  <a:cubicBezTo>
                    <a:pt x="560873" y="68897"/>
                    <a:pt x="555287" y="61448"/>
                    <a:pt x="546721" y="61448"/>
                  </a:cubicBezTo>
                  <a:close/>
                  <a:moveTo>
                    <a:pt x="409301" y="61076"/>
                  </a:moveTo>
                  <a:cubicBezTo>
                    <a:pt x="402225" y="61076"/>
                    <a:pt x="397012" y="66290"/>
                    <a:pt x="395894" y="74483"/>
                  </a:cubicBezTo>
                  <a:lnTo>
                    <a:pt x="395894" y="75228"/>
                  </a:lnTo>
                  <a:lnTo>
                    <a:pt x="420474" y="75228"/>
                  </a:lnTo>
                  <a:lnTo>
                    <a:pt x="420474" y="74483"/>
                  </a:lnTo>
                  <a:cubicBezTo>
                    <a:pt x="420474" y="68152"/>
                    <a:pt x="417494" y="61076"/>
                    <a:pt x="409301" y="61076"/>
                  </a:cubicBezTo>
                  <a:close/>
                  <a:moveTo>
                    <a:pt x="500170" y="57724"/>
                  </a:moveTo>
                  <a:lnTo>
                    <a:pt x="509853" y="57724"/>
                  </a:lnTo>
                  <a:lnTo>
                    <a:pt x="509853" y="103531"/>
                  </a:lnTo>
                  <a:lnTo>
                    <a:pt x="500170" y="103531"/>
                  </a:lnTo>
                  <a:close/>
                  <a:moveTo>
                    <a:pt x="606680" y="54000"/>
                  </a:moveTo>
                  <a:cubicBezTo>
                    <a:pt x="611149" y="53628"/>
                    <a:pt x="615246" y="55490"/>
                    <a:pt x="618597" y="58469"/>
                  </a:cubicBezTo>
                  <a:cubicBezTo>
                    <a:pt x="623439" y="63311"/>
                    <a:pt x="623439" y="69269"/>
                    <a:pt x="623439" y="76345"/>
                  </a:cubicBezTo>
                  <a:lnTo>
                    <a:pt x="623439" y="103904"/>
                  </a:lnTo>
                  <a:lnTo>
                    <a:pt x="614128" y="103904"/>
                  </a:lnTo>
                  <a:lnTo>
                    <a:pt x="614128" y="103531"/>
                  </a:lnTo>
                  <a:lnTo>
                    <a:pt x="614128" y="77090"/>
                  </a:lnTo>
                  <a:cubicBezTo>
                    <a:pt x="614128" y="70386"/>
                    <a:pt x="614128" y="66662"/>
                    <a:pt x="611521" y="64428"/>
                  </a:cubicBezTo>
                  <a:cubicBezTo>
                    <a:pt x="609659" y="62938"/>
                    <a:pt x="607425" y="61821"/>
                    <a:pt x="604818" y="62193"/>
                  </a:cubicBezTo>
                  <a:cubicBezTo>
                    <a:pt x="600721" y="62193"/>
                    <a:pt x="596625" y="63683"/>
                    <a:pt x="593273" y="65917"/>
                  </a:cubicBezTo>
                  <a:lnTo>
                    <a:pt x="592901" y="65917"/>
                  </a:lnTo>
                  <a:lnTo>
                    <a:pt x="592901" y="103531"/>
                  </a:lnTo>
                  <a:lnTo>
                    <a:pt x="583218" y="103531"/>
                  </a:lnTo>
                  <a:lnTo>
                    <a:pt x="583218" y="55490"/>
                  </a:lnTo>
                  <a:lnTo>
                    <a:pt x="591411" y="55490"/>
                  </a:lnTo>
                  <a:lnTo>
                    <a:pt x="591411" y="59586"/>
                  </a:lnTo>
                  <a:lnTo>
                    <a:pt x="592528" y="58842"/>
                  </a:lnTo>
                  <a:cubicBezTo>
                    <a:pt x="596625" y="55862"/>
                    <a:pt x="601839" y="54000"/>
                    <a:pt x="606680" y="54000"/>
                  </a:cubicBezTo>
                  <a:close/>
                  <a:moveTo>
                    <a:pt x="547094" y="54000"/>
                  </a:moveTo>
                  <a:cubicBezTo>
                    <a:pt x="561246" y="54000"/>
                    <a:pt x="570183" y="64055"/>
                    <a:pt x="570183" y="79324"/>
                  </a:cubicBezTo>
                  <a:cubicBezTo>
                    <a:pt x="570183" y="94593"/>
                    <a:pt x="559756" y="105021"/>
                    <a:pt x="545977" y="105021"/>
                  </a:cubicBezTo>
                  <a:cubicBezTo>
                    <a:pt x="532197" y="105021"/>
                    <a:pt x="522887" y="94966"/>
                    <a:pt x="522887" y="79697"/>
                  </a:cubicBezTo>
                  <a:cubicBezTo>
                    <a:pt x="522887" y="64428"/>
                    <a:pt x="532570" y="54000"/>
                    <a:pt x="547094" y="54000"/>
                  </a:cubicBezTo>
                  <a:close/>
                  <a:moveTo>
                    <a:pt x="409301" y="54000"/>
                  </a:moveTo>
                  <a:cubicBezTo>
                    <a:pt x="421963" y="54000"/>
                    <a:pt x="429784" y="63310"/>
                    <a:pt x="429412" y="78579"/>
                  </a:cubicBezTo>
                  <a:cubicBezTo>
                    <a:pt x="429412" y="79697"/>
                    <a:pt x="429412" y="80814"/>
                    <a:pt x="429412" y="81186"/>
                  </a:cubicBezTo>
                  <a:cubicBezTo>
                    <a:pt x="429412" y="81559"/>
                    <a:pt x="429412" y="81559"/>
                    <a:pt x="429412" y="81931"/>
                  </a:cubicBezTo>
                  <a:lnTo>
                    <a:pt x="395894" y="81931"/>
                  </a:lnTo>
                  <a:lnTo>
                    <a:pt x="395894" y="82676"/>
                  </a:lnTo>
                  <a:cubicBezTo>
                    <a:pt x="395894" y="83048"/>
                    <a:pt x="395894" y="83793"/>
                    <a:pt x="395894" y="84166"/>
                  </a:cubicBezTo>
                  <a:cubicBezTo>
                    <a:pt x="396267" y="91986"/>
                    <a:pt x="402970" y="97572"/>
                    <a:pt x="410791" y="97200"/>
                  </a:cubicBezTo>
                  <a:cubicBezTo>
                    <a:pt x="415632" y="97200"/>
                    <a:pt x="420101" y="95710"/>
                    <a:pt x="424198" y="93476"/>
                  </a:cubicBezTo>
                  <a:lnTo>
                    <a:pt x="427549" y="99807"/>
                  </a:lnTo>
                  <a:cubicBezTo>
                    <a:pt x="422336" y="102786"/>
                    <a:pt x="416377" y="104648"/>
                    <a:pt x="410046" y="104648"/>
                  </a:cubicBezTo>
                  <a:cubicBezTo>
                    <a:pt x="395894" y="104648"/>
                    <a:pt x="386584" y="94593"/>
                    <a:pt x="386584" y="79697"/>
                  </a:cubicBezTo>
                  <a:cubicBezTo>
                    <a:pt x="386584" y="64800"/>
                    <a:pt x="395894" y="54000"/>
                    <a:pt x="409301" y="54000"/>
                  </a:cubicBezTo>
                  <a:close/>
                  <a:moveTo>
                    <a:pt x="465907" y="53627"/>
                  </a:moveTo>
                  <a:cubicBezTo>
                    <a:pt x="472238" y="54000"/>
                    <a:pt x="478569" y="55489"/>
                    <a:pt x="484528" y="58469"/>
                  </a:cubicBezTo>
                  <a:lnTo>
                    <a:pt x="484528" y="103531"/>
                  </a:lnTo>
                  <a:cubicBezTo>
                    <a:pt x="484528" y="110979"/>
                    <a:pt x="484155" y="116193"/>
                    <a:pt x="479686" y="120662"/>
                  </a:cubicBezTo>
                  <a:cubicBezTo>
                    <a:pt x="474845" y="124758"/>
                    <a:pt x="468886" y="126993"/>
                    <a:pt x="462555" y="126620"/>
                  </a:cubicBezTo>
                  <a:cubicBezTo>
                    <a:pt x="455480" y="126993"/>
                    <a:pt x="448404" y="124758"/>
                    <a:pt x="442445" y="120289"/>
                  </a:cubicBezTo>
                  <a:lnTo>
                    <a:pt x="446542" y="113958"/>
                  </a:lnTo>
                  <a:cubicBezTo>
                    <a:pt x="451011" y="116938"/>
                    <a:pt x="456224" y="118800"/>
                    <a:pt x="461438" y="119172"/>
                  </a:cubicBezTo>
                  <a:cubicBezTo>
                    <a:pt x="464790" y="119172"/>
                    <a:pt x="468514" y="117683"/>
                    <a:pt x="471121" y="115448"/>
                  </a:cubicBezTo>
                  <a:cubicBezTo>
                    <a:pt x="474473" y="112469"/>
                    <a:pt x="474845" y="108372"/>
                    <a:pt x="474845" y="103531"/>
                  </a:cubicBezTo>
                  <a:lnTo>
                    <a:pt x="474845" y="99807"/>
                  </a:lnTo>
                  <a:lnTo>
                    <a:pt x="473728" y="100179"/>
                  </a:lnTo>
                  <a:lnTo>
                    <a:pt x="473355" y="100551"/>
                  </a:lnTo>
                  <a:cubicBezTo>
                    <a:pt x="470004" y="102414"/>
                    <a:pt x="465907" y="103531"/>
                    <a:pt x="461811" y="103531"/>
                  </a:cubicBezTo>
                  <a:cubicBezTo>
                    <a:pt x="447286" y="103531"/>
                    <a:pt x="440583" y="91241"/>
                    <a:pt x="440583" y="79696"/>
                  </a:cubicBezTo>
                  <a:cubicBezTo>
                    <a:pt x="440583" y="78951"/>
                    <a:pt x="440583" y="78579"/>
                    <a:pt x="440583" y="77834"/>
                  </a:cubicBezTo>
                  <a:cubicBezTo>
                    <a:pt x="440955" y="64055"/>
                    <a:pt x="452128" y="53255"/>
                    <a:pt x="465907" y="53627"/>
                  </a:cubicBezTo>
                  <a:close/>
                  <a:moveTo>
                    <a:pt x="342267" y="45807"/>
                  </a:moveTo>
                  <a:lnTo>
                    <a:pt x="342267" y="68152"/>
                  </a:lnTo>
                  <a:lnTo>
                    <a:pt x="347480" y="68152"/>
                  </a:lnTo>
                  <a:cubicBezTo>
                    <a:pt x="353067" y="68152"/>
                    <a:pt x="357536" y="67780"/>
                    <a:pt x="360887" y="64800"/>
                  </a:cubicBezTo>
                  <a:cubicBezTo>
                    <a:pt x="364984" y="60331"/>
                    <a:pt x="364984" y="53628"/>
                    <a:pt x="361260" y="48786"/>
                  </a:cubicBezTo>
                  <a:cubicBezTo>
                    <a:pt x="358280" y="46552"/>
                    <a:pt x="354556" y="45435"/>
                    <a:pt x="350832" y="45807"/>
                  </a:cubicBezTo>
                  <a:close/>
                  <a:moveTo>
                    <a:pt x="505011" y="37986"/>
                  </a:moveTo>
                  <a:cubicBezTo>
                    <a:pt x="508362" y="37986"/>
                    <a:pt x="510969" y="40593"/>
                    <a:pt x="510969" y="43945"/>
                  </a:cubicBezTo>
                  <a:cubicBezTo>
                    <a:pt x="510969" y="46924"/>
                    <a:pt x="508362" y="49531"/>
                    <a:pt x="505011" y="49531"/>
                  </a:cubicBezTo>
                  <a:cubicBezTo>
                    <a:pt x="501659" y="49531"/>
                    <a:pt x="499052" y="46924"/>
                    <a:pt x="499052" y="43945"/>
                  </a:cubicBezTo>
                  <a:cubicBezTo>
                    <a:pt x="499052" y="40593"/>
                    <a:pt x="501659" y="37986"/>
                    <a:pt x="505011" y="37986"/>
                  </a:cubicBezTo>
                  <a:close/>
                  <a:moveTo>
                    <a:pt x="331839" y="37614"/>
                  </a:moveTo>
                  <a:lnTo>
                    <a:pt x="348970" y="37614"/>
                  </a:lnTo>
                  <a:cubicBezTo>
                    <a:pt x="357536" y="37614"/>
                    <a:pt x="363867" y="37986"/>
                    <a:pt x="368708" y="42828"/>
                  </a:cubicBezTo>
                  <a:cubicBezTo>
                    <a:pt x="372060" y="46180"/>
                    <a:pt x="373922" y="51021"/>
                    <a:pt x="373922" y="55862"/>
                  </a:cubicBezTo>
                  <a:cubicBezTo>
                    <a:pt x="374294" y="59959"/>
                    <a:pt x="372804" y="64428"/>
                    <a:pt x="369825" y="67407"/>
                  </a:cubicBezTo>
                  <a:cubicBezTo>
                    <a:pt x="366846" y="70386"/>
                    <a:pt x="363122" y="72248"/>
                    <a:pt x="359025" y="72621"/>
                  </a:cubicBezTo>
                  <a:cubicBezTo>
                    <a:pt x="361632" y="72993"/>
                    <a:pt x="363867" y="74483"/>
                    <a:pt x="365729" y="76345"/>
                  </a:cubicBezTo>
                  <a:cubicBezTo>
                    <a:pt x="367591" y="78952"/>
                    <a:pt x="369080" y="81559"/>
                    <a:pt x="370198" y="84538"/>
                  </a:cubicBezTo>
                  <a:lnTo>
                    <a:pt x="378391" y="103531"/>
                  </a:lnTo>
                  <a:lnTo>
                    <a:pt x="367591" y="103531"/>
                  </a:lnTo>
                  <a:lnTo>
                    <a:pt x="359770" y="86028"/>
                  </a:lnTo>
                  <a:cubicBezTo>
                    <a:pt x="355301" y="76345"/>
                    <a:pt x="352694" y="75973"/>
                    <a:pt x="345246" y="75973"/>
                  </a:cubicBezTo>
                  <a:lnTo>
                    <a:pt x="341894" y="75973"/>
                  </a:lnTo>
                  <a:lnTo>
                    <a:pt x="341894" y="103531"/>
                  </a:lnTo>
                  <a:lnTo>
                    <a:pt x="331839" y="103531"/>
                  </a:lnTo>
                  <a:close/>
                  <a:moveTo>
                    <a:pt x="131481" y="12290"/>
                  </a:moveTo>
                  <a:cubicBezTo>
                    <a:pt x="122915" y="18248"/>
                    <a:pt x="116957" y="27186"/>
                    <a:pt x="113605" y="36869"/>
                  </a:cubicBezTo>
                  <a:cubicBezTo>
                    <a:pt x="110253" y="30166"/>
                    <a:pt x="102805" y="18621"/>
                    <a:pt x="96846" y="17876"/>
                  </a:cubicBezTo>
                  <a:cubicBezTo>
                    <a:pt x="90143" y="21972"/>
                    <a:pt x="89398" y="41338"/>
                    <a:pt x="92377" y="52883"/>
                  </a:cubicBezTo>
                  <a:cubicBezTo>
                    <a:pt x="83439" y="44317"/>
                    <a:pt x="67053" y="35007"/>
                    <a:pt x="60722" y="38731"/>
                  </a:cubicBezTo>
                  <a:cubicBezTo>
                    <a:pt x="58115" y="44690"/>
                    <a:pt x="63702" y="56607"/>
                    <a:pt x="67798" y="62938"/>
                  </a:cubicBezTo>
                  <a:cubicBezTo>
                    <a:pt x="58488" y="60703"/>
                    <a:pt x="43964" y="62193"/>
                    <a:pt x="38005" y="65917"/>
                  </a:cubicBezTo>
                  <a:cubicBezTo>
                    <a:pt x="45081" y="73738"/>
                    <a:pt x="54391" y="78579"/>
                    <a:pt x="64446" y="80069"/>
                  </a:cubicBezTo>
                  <a:cubicBezTo>
                    <a:pt x="74502" y="82303"/>
                    <a:pt x="84557" y="84538"/>
                    <a:pt x="90888" y="91614"/>
                  </a:cubicBezTo>
                  <a:cubicBezTo>
                    <a:pt x="103550" y="106138"/>
                    <a:pt x="132970" y="139655"/>
                    <a:pt x="134460" y="141145"/>
                  </a:cubicBezTo>
                  <a:cubicBezTo>
                    <a:pt x="132598" y="140772"/>
                    <a:pt x="88281" y="132207"/>
                    <a:pt x="69288" y="128483"/>
                  </a:cubicBezTo>
                  <a:cubicBezTo>
                    <a:pt x="59605" y="126621"/>
                    <a:pt x="52529" y="118800"/>
                    <a:pt x="45826" y="111352"/>
                  </a:cubicBezTo>
                  <a:cubicBezTo>
                    <a:pt x="39495" y="103531"/>
                    <a:pt x="30557" y="98317"/>
                    <a:pt x="20874" y="96083"/>
                  </a:cubicBezTo>
                  <a:cubicBezTo>
                    <a:pt x="20502" y="103159"/>
                    <a:pt x="26088" y="116566"/>
                    <a:pt x="32791" y="123641"/>
                  </a:cubicBezTo>
                  <a:cubicBezTo>
                    <a:pt x="25715" y="123269"/>
                    <a:pt x="12309" y="124014"/>
                    <a:pt x="8957" y="128483"/>
                  </a:cubicBezTo>
                  <a:cubicBezTo>
                    <a:pt x="9329" y="135931"/>
                    <a:pt x="25715" y="146359"/>
                    <a:pt x="37260" y="149710"/>
                  </a:cubicBezTo>
                  <a:cubicBezTo>
                    <a:pt x="25715" y="153062"/>
                    <a:pt x="9329" y="163490"/>
                    <a:pt x="8957" y="170938"/>
                  </a:cubicBezTo>
                  <a:cubicBezTo>
                    <a:pt x="11936" y="175407"/>
                    <a:pt x="25715" y="176152"/>
                    <a:pt x="32791" y="175779"/>
                  </a:cubicBezTo>
                  <a:cubicBezTo>
                    <a:pt x="26460" y="182855"/>
                    <a:pt x="20874" y="196262"/>
                    <a:pt x="20874" y="203338"/>
                  </a:cubicBezTo>
                  <a:cubicBezTo>
                    <a:pt x="30557" y="201476"/>
                    <a:pt x="39122" y="195890"/>
                    <a:pt x="45453" y="188069"/>
                  </a:cubicBezTo>
                  <a:cubicBezTo>
                    <a:pt x="52157" y="180248"/>
                    <a:pt x="59233" y="172428"/>
                    <a:pt x="68915" y="170566"/>
                  </a:cubicBezTo>
                  <a:cubicBezTo>
                    <a:pt x="87908" y="166841"/>
                    <a:pt x="131853" y="158276"/>
                    <a:pt x="134088" y="157903"/>
                  </a:cubicBezTo>
                  <a:cubicBezTo>
                    <a:pt x="132598" y="159393"/>
                    <a:pt x="103177" y="192910"/>
                    <a:pt x="90515" y="207434"/>
                  </a:cubicBezTo>
                  <a:cubicBezTo>
                    <a:pt x="84184" y="214883"/>
                    <a:pt x="74129" y="216745"/>
                    <a:pt x="64074" y="218979"/>
                  </a:cubicBezTo>
                  <a:cubicBezTo>
                    <a:pt x="53646" y="220469"/>
                    <a:pt x="44336" y="225310"/>
                    <a:pt x="37633" y="233131"/>
                  </a:cubicBezTo>
                  <a:cubicBezTo>
                    <a:pt x="43591" y="236483"/>
                    <a:pt x="58115" y="238345"/>
                    <a:pt x="67426" y="236110"/>
                  </a:cubicBezTo>
                  <a:cubicBezTo>
                    <a:pt x="63702" y="242069"/>
                    <a:pt x="57371" y="254359"/>
                    <a:pt x="58860" y="259572"/>
                  </a:cubicBezTo>
                  <a:cubicBezTo>
                    <a:pt x="65936" y="263297"/>
                    <a:pt x="81950" y="255103"/>
                    <a:pt x="91260" y="246166"/>
                  </a:cubicBezTo>
                  <a:cubicBezTo>
                    <a:pt x="88281" y="258455"/>
                    <a:pt x="89398" y="276331"/>
                    <a:pt x="96102" y="280800"/>
                  </a:cubicBezTo>
                  <a:cubicBezTo>
                    <a:pt x="101688" y="280055"/>
                    <a:pt x="109136" y="268138"/>
                    <a:pt x="112488" y="261807"/>
                  </a:cubicBezTo>
                  <a:cubicBezTo>
                    <a:pt x="115839" y="271490"/>
                    <a:pt x="122170" y="280055"/>
                    <a:pt x="130364" y="286386"/>
                  </a:cubicBezTo>
                  <a:cubicBezTo>
                    <a:pt x="133715" y="276703"/>
                    <a:pt x="133343" y="266276"/>
                    <a:pt x="129619" y="256593"/>
                  </a:cubicBezTo>
                  <a:cubicBezTo>
                    <a:pt x="126639" y="247283"/>
                    <a:pt x="123660" y="237600"/>
                    <a:pt x="126639" y="228290"/>
                  </a:cubicBezTo>
                  <a:cubicBezTo>
                    <a:pt x="132970" y="209669"/>
                    <a:pt x="147122" y="167586"/>
                    <a:pt x="147867" y="165724"/>
                  </a:cubicBezTo>
                  <a:cubicBezTo>
                    <a:pt x="148612" y="167959"/>
                    <a:pt x="162764" y="209669"/>
                    <a:pt x="169095" y="228290"/>
                  </a:cubicBezTo>
                  <a:cubicBezTo>
                    <a:pt x="172446" y="237228"/>
                    <a:pt x="169095" y="247283"/>
                    <a:pt x="166115" y="256593"/>
                  </a:cubicBezTo>
                  <a:cubicBezTo>
                    <a:pt x="162391" y="266276"/>
                    <a:pt x="162019" y="276703"/>
                    <a:pt x="165370" y="286386"/>
                  </a:cubicBezTo>
                  <a:cubicBezTo>
                    <a:pt x="173936" y="280055"/>
                    <a:pt x="179895" y="271490"/>
                    <a:pt x="183246" y="261807"/>
                  </a:cubicBezTo>
                  <a:cubicBezTo>
                    <a:pt x="186598" y="268510"/>
                    <a:pt x="194046" y="280055"/>
                    <a:pt x="199632" y="280800"/>
                  </a:cubicBezTo>
                  <a:cubicBezTo>
                    <a:pt x="206336" y="276703"/>
                    <a:pt x="207826" y="258828"/>
                    <a:pt x="204474" y="246166"/>
                  </a:cubicBezTo>
                  <a:cubicBezTo>
                    <a:pt x="213784" y="255476"/>
                    <a:pt x="229798" y="263297"/>
                    <a:pt x="236874" y="259572"/>
                  </a:cubicBezTo>
                  <a:cubicBezTo>
                    <a:pt x="239108" y="254359"/>
                    <a:pt x="232777" y="242069"/>
                    <a:pt x="229053" y="236110"/>
                  </a:cubicBezTo>
                  <a:cubicBezTo>
                    <a:pt x="238363" y="238345"/>
                    <a:pt x="252888" y="236855"/>
                    <a:pt x="258846" y="233131"/>
                  </a:cubicBezTo>
                  <a:cubicBezTo>
                    <a:pt x="252143" y="225310"/>
                    <a:pt x="242460" y="220469"/>
                    <a:pt x="232405" y="218979"/>
                  </a:cubicBezTo>
                  <a:cubicBezTo>
                    <a:pt x="222350" y="216745"/>
                    <a:pt x="212294" y="214510"/>
                    <a:pt x="205963" y="207434"/>
                  </a:cubicBezTo>
                  <a:cubicBezTo>
                    <a:pt x="193301" y="192910"/>
                    <a:pt x="163881" y="159393"/>
                    <a:pt x="162391" y="157903"/>
                  </a:cubicBezTo>
                  <a:cubicBezTo>
                    <a:pt x="164253" y="158276"/>
                    <a:pt x="208570" y="166841"/>
                    <a:pt x="227563" y="170566"/>
                  </a:cubicBezTo>
                  <a:cubicBezTo>
                    <a:pt x="237246" y="172428"/>
                    <a:pt x="244322" y="180248"/>
                    <a:pt x="251025" y="187697"/>
                  </a:cubicBezTo>
                  <a:cubicBezTo>
                    <a:pt x="257357" y="195517"/>
                    <a:pt x="266294" y="200731"/>
                    <a:pt x="275977" y="202966"/>
                  </a:cubicBezTo>
                  <a:cubicBezTo>
                    <a:pt x="276350" y="195890"/>
                    <a:pt x="270763" y="182483"/>
                    <a:pt x="264060" y="175407"/>
                  </a:cubicBezTo>
                  <a:cubicBezTo>
                    <a:pt x="271136" y="175779"/>
                    <a:pt x="284543" y="175034"/>
                    <a:pt x="289384" y="170938"/>
                  </a:cubicBezTo>
                  <a:cubicBezTo>
                    <a:pt x="289384" y="163490"/>
                    <a:pt x="272625" y="153062"/>
                    <a:pt x="261081" y="149710"/>
                  </a:cubicBezTo>
                  <a:cubicBezTo>
                    <a:pt x="272625" y="146359"/>
                    <a:pt x="289012" y="135931"/>
                    <a:pt x="289384" y="128483"/>
                  </a:cubicBezTo>
                  <a:cubicBezTo>
                    <a:pt x="286032" y="124014"/>
                    <a:pt x="272625" y="123269"/>
                    <a:pt x="265550" y="123641"/>
                  </a:cubicBezTo>
                  <a:cubicBezTo>
                    <a:pt x="271881" y="116566"/>
                    <a:pt x="277467" y="103159"/>
                    <a:pt x="277467" y="96083"/>
                  </a:cubicBezTo>
                  <a:cubicBezTo>
                    <a:pt x="267412" y="97945"/>
                    <a:pt x="258846" y="103531"/>
                    <a:pt x="252515" y="111352"/>
                  </a:cubicBezTo>
                  <a:cubicBezTo>
                    <a:pt x="245812" y="118800"/>
                    <a:pt x="238736" y="126621"/>
                    <a:pt x="229053" y="128483"/>
                  </a:cubicBezTo>
                  <a:cubicBezTo>
                    <a:pt x="210060" y="132207"/>
                    <a:pt x="165743" y="140772"/>
                    <a:pt x="163881" y="141145"/>
                  </a:cubicBezTo>
                  <a:cubicBezTo>
                    <a:pt x="165370" y="139655"/>
                    <a:pt x="194791" y="106138"/>
                    <a:pt x="207453" y="91614"/>
                  </a:cubicBezTo>
                  <a:cubicBezTo>
                    <a:pt x="213784" y="84166"/>
                    <a:pt x="223839" y="82303"/>
                    <a:pt x="233894" y="80069"/>
                  </a:cubicBezTo>
                  <a:cubicBezTo>
                    <a:pt x="244322" y="78952"/>
                    <a:pt x="253632" y="73738"/>
                    <a:pt x="260336" y="65917"/>
                  </a:cubicBezTo>
                  <a:cubicBezTo>
                    <a:pt x="254005" y="62193"/>
                    <a:pt x="239853" y="60703"/>
                    <a:pt x="230543" y="62938"/>
                  </a:cubicBezTo>
                  <a:cubicBezTo>
                    <a:pt x="234639" y="56607"/>
                    <a:pt x="240226" y="44690"/>
                    <a:pt x="237619" y="38731"/>
                  </a:cubicBezTo>
                  <a:cubicBezTo>
                    <a:pt x="231288" y="35379"/>
                    <a:pt x="214529" y="44317"/>
                    <a:pt x="205963" y="52883"/>
                  </a:cubicBezTo>
                  <a:cubicBezTo>
                    <a:pt x="208943" y="41338"/>
                    <a:pt x="207826" y="21600"/>
                    <a:pt x="201495" y="17876"/>
                  </a:cubicBezTo>
                  <a:cubicBezTo>
                    <a:pt x="195536" y="18621"/>
                    <a:pt x="187715" y="30166"/>
                    <a:pt x="184363" y="36869"/>
                  </a:cubicBezTo>
                  <a:cubicBezTo>
                    <a:pt x="181384" y="27559"/>
                    <a:pt x="172819" y="16014"/>
                    <a:pt x="166488" y="12290"/>
                  </a:cubicBezTo>
                  <a:cubicBezTo>
                    <a:pt x="163136" y="21972"/>
                    <a:pt x="163508" y="32400"/>
                    <a:pt x="167232" y="42083"/>
                  </a:cubicBezTo>
                  <a:cubicBezTo>
                    <a:pt x="170212" y="51393"/>
                    <a:pt x="173191" y="61076"/>
                    <a:pt x="170212" y="70386"/>
                  </a:cubicBezTo>
                  <a:cubicBezTo>
                    <a:pt x="164253" y="89007"/>
                    <a:pt x="149729" y="131090"/>
                    <a:pt x="148984" y="132952"/>
                  </a:cubicBezTo>
                  <a:cubicBezTo>
                    <a:pt x="148239" y="130717"/>
                    <a:pt x="134088" y="89007"/>
                    <a:pt x="127757" y="70386"/>
                  </a:cubicBezTo>
                  <a:cubicBezTo>
                    <a:pt x="124405" y="61448"/>
                    <a:pt x="127757" y="51393"/>
                    <a:pt x="130736" y="42083"/>
                  </a:cubicBezTo>
                  <a:cubicBezTo>
                    <a:pt x="134460" y="32772"/>
                    <a:pt x="134833" y="21972"/>
                    <a:pt x="131481" y="12290"/>
                  </a:cubicBezTo>
                  <a:close/>
                  <a:moveTo>
                    <a:pt x="134833" y="0"/>
                  </a:moveTo>
                  <a:cubicBezTo>
                    <a:pt x="151591" y="32772"/>
                    <a:pt x="131853" y="41338"/>
                    <a:pt x="134833" y="67779"/>
                  </a:cubicBezTo>
                  <a:cubicBezTo>
                    <a:pt x="138557" y="78952"/>
                    <a:pt x="144515" y="96828"/>
                    <a:pt x="148239" y="107255"/>
                  </a:cubicBezTo>
                  <a:cubicBezTo>
                    <a:pt x="152336" y="94966"/>
                    <a:pt x="157922" y="78207"/>
                    <a:pt x="161646" y="67779"/>
                  </a:cubicBezTo>
                  <a:cubicBezTo>
                    <a:pt x="164253" y="40966"/>
                    <a:pt x="144888" y="32400"/>
                    <a:pt x="161646" y="0"/>
                  </a:cubicBezTo>
                  <a:cubicBezTo>
                    <a:pt x="170584" y="4469"/>
                    <a:pt x="178777" y="11172"/>
                    <a:pt x="184363" y="19738"/>
                  </a:cubicBezTo>
                  <a:cubicBezTo>
                    <a:pt x="190322" y="12662"/>
                    <a:pt x="196281" y="8938"/>
                    <a:pt x="202612" y="9310"/>
                  </a:cubicBezTo>
                  <a:cubicBezTo>
                    <a:pt x="208943" y="12662"/>
                    <a:pt x="214157" y="21228"/>
                    <a:pt x="214901" y="34634"/>
                  </a:cubicBezTo>
                  <a:cubicBezTo>
                    <a:pt x="227191" y="27931"/>
                    <a:pt x="236501" y="29048"/>
                    <a:pt x="242088" y="32400"/>
                  </a:cubicBezTo>
                  <a:cubicBezTo>
                    <a:pt x="246557" y="38731"/>
                    <a:pt x="244322" y="49159"/>
                    <a:pt x="242832" y="53255"/>
                  </a:cubicBezTo>
                  <a:cubicBezTo>
                    <a:pt x="253260" y="53628"/>
                    <a:pt x="262943" y="57352"/>
                    <a:pt x="271136" y="62938"/>
                  </a:cubicBezTo>
                  <a:cubicBezTo>
                    <a:pt x="251770" y="93848"/>
                    <a:pt x="233894" y="81186"/>
                    <a:pt x="212294" y="96828"/>
                  </a:cubicBezTo>
                  <a:cubicBezTo>
                    <a:pt x="204101" y="106138"/>
                    <a:pt x="190322" y="121779"/>
                    <a:pt x="184736" y="128110"/>
                  </a:cubicBezTo>
                  <a:cubicBezTo>
                    <a:pt x="195536" y="125876"/>
                    <a:pt x="214157" y="122152"/>
                    <a:pt x="226074" y="119917"/>
                  </a:cubicBezTo>
                  <a:cubicBezTo>
                    <a:pt x="250281" y="109490"/>
                    <a:pt x="248046" y="87890"/>
                    <a:pt x="284543" y="85655"/>
                  </a:cubicBezTo>
                  <a:cubicBezTo>
                    <a:pt x="285660" y="95710"/>
                    <a:pt x="283798" y="106138"/>
                    <a:pt x="279329" y="115448"/>
                  </a:cubicBezTo>
                  <a:cubicBezTo>
                    <a:pt x="285288" y="116566"/>
                    <a:pt x="293481" y="119172"/>
                    <a:pt x="296460" y="125876"/>
                  </a:cubicBezTo>
                  <a:cubicBezTo>
                    <a:pt x="296460" y="133324"/>
                    <a:pt x="291991" y="141890"/>
                    <a:pt x="280074" y="149338"/>
                  </a:cubicBezTo>
                  <a:cubicBezTo>
                    <a:pt x="291619" y="156786"/>
                    <a:pt x="296832" y="165724"/>
                    <a:pt x="296460" y="173172"/>
                  </a:cubicBezTo>
                  <a:cubicBezTo>
                    <a:pt x="293481" y="179876"/>
                    <a:pt x="285660" y="182483"/>
                    <a:pt x="279329" y="183600"/>
                  </a:cubicBezTo>
                  <a:cubicBezTo>
                    <a:pt x="283798" y="192910"/>
                    <a:pt x="285660" y="203338"/>
                    <a:pt x="284543" y="213393"/>
                  </a:cubicBezTo>
                  <a:cubicBezTo>
                    <a:pt x="248791" y="211531"/>
                    <a:pt x="249908" y="189559"/>
                    <a:pt x="226074" y="179131"/>
                  </a:cubicBezTo>
                  <a:cubicBezTo>
                    <a:pt x="214529" y="176897"/>
                    <a:pt x="195536" y="173172"/>
                    <a:pt x="184736" y="170938"/>
                  </a:cubicBezTo>
                  <a:cubicBezTo>
                    <a:pt x="192184" y="179131"/>
                    <a:pt x="204474" y="193283"/>
                    <a:pt x="212294" y="202221"/>
                  </a:cubicBezTo>
                  <a:cubicBezTo>
                    <a:pt x="233894" y="217862"/>
                    <a:pt x="251398" y="205200"/>
                    <a:pt x="271136" y="236110"/>
                  </a:cubicBezTo>
                  <a:cubicBezTo>
                    <a:pt x="262943" y="241697"/>
                    <a:pt x="253260" y="245048"/>
                    <a:pt x="243205" y="245793"/>
                  </a:cubicBezTo>
                  <a:cubicBezTo>
                    <a:pt x="245812" y="251752"/>
                    <a:pt x="247301" y="259945"/>
                    <a:pt x="243205" y="265903"/>
                  </a:cubicBezTo>
                  <a:cubicBezTo>
                    <a:pt x="236874" y="269628"/>
                    <a:pt x="226819" y="270000"/>
                    <a:pt x="214901" y="264041"/>
                  </a:cubicBezTo>
                  <a:cubicBezTo>
                    <a:pt x="214157" y="277448"/>
                    <a:pt x="208570" y="285641"/>
                    <a:pt x="202239" y="289366"/>
                  </a:cubicBezTo>
                  <a:cubicBezTo>
                    <a:pt x="194791" y="290110"/>
                    <a:pt x="187715" y="283407"/>
                    <a:pt x="184363" y="278938"/>
                  </a:cubicBezTo>
                  <a:cubicBezTo>
                    <a:pt x="178777" y="287503"/>
                    <a:pt x="170957" y="294207"/>
                    <a:pt x="161646" y="298676"/>
                  </a:cubicBezTo>
                  <a:cubicBezTo>
                    <a:pt x="144888" y="266648"/>
                    <a:pt x="164253" y="257338"/>
                    <a:pt x="161646" y="230897"/>
                  </a:cubicBezTo>
                  <a:cubicBezTo>
                    <a:pt x="157922" y="219724"/>
                    <a:pt x="151964" y="201848"/>
                    <a:pt x="148239" y="191421"/>
                  </a:cubicBezTo>
                  <a:cubicBezTo>
                    <a:pt x="144143" y="203710"/>
                    <a:pt x="138557" y="220469"/>
                    <a:pt x="134833" y="230897"/>
                  </a:cubicBezTo>
                  <a:cubicBezTo>
                    <a:pt x="131853" y="257710"/>
                    <a:pt x="151591" y="265903"/>
                    <a:pt x="134833" y="298676"/>
                  </a:cubicBezTo>
                  <a:cubicBezTo>
                    <a:pt x="125522" y="294207"/>
                    <a:pt x="117701" y="287503"/>
                    <a:pt x="112115" y="278938"/>
                  </a:cubicBezTo>
                  <a:cubicBezTo>
                    <a:pt x="108764" y="283407"/>
                    <a:pt x="101688" y="290110"/>
                    <a:pt x="94239" y="289366"/>
                  </a:cubicBezTo>
                  <a:cubicBezTo>
                    <a:pt x="87536" y="286014"/>
                    <a:pt x="82322" y="277448"/>
                    <a:pt x="81577" y="264041"/>
                  </a:cubicBezTo>
                  <a:cubicBezTo>
                    <a:pt x="69660" y="270372"/>
                    <a:pt x="59605" y="269628"/>
                    <a:pt x="53274" y="265903"/>
                  </a:cubicBezTo>
                  <a:cubicBezTo>
                    <a:pt x="49177" y="259945"/>
                    <a:pt x="51040" y="251752"/>
                    <a:pt x="53274" y="245793"/>
                  </a:cubicBezTo>
                  <a:cubicBezTo>
                    <a:pt x="43219" y="245421"/>
                    <a:pt x="33536" y="241697"/>
                    <a:pt x="25343" y="236110"/>
                  </a:cubicBezTo>
                  <a:cubicBezTo>
                    <a:pt x="44708" y="205200"/>
                    <a:pt x="62584" y="217862"/>
                    <a:pt x="84184" y="202221"/>
                  </a:cubicBezTo>
                  <a:cubicBezTo>
                    <a:pt x="92005" y="193283"/>
                    <a:pt x="104295" y="179131"/>
                    <a:pt x="111743" y="170938"/>
                  </a:cubicBezTo>
                  <a:cubicBezTo>
                    <a:pt x="98708" y="173545"/>
                    <a:pt x="81205" y="176897"/>
                    <a:pt x="70405" y="179131"/>
                  </a:cubicBezTo>
                  <a:cubicBezTo>
                    <a:pt x="46198" y="189559"/>
                    <a:pt x="47688" y="211531"/>
                    <a:pt x="11936" y="213393"/>
                  </a:cubicBezTo>
                  <a:cubicBezTo>
                    <a:pt x="10819" y="203338"/>
                    <a:pt x="12681" y="192910"/>
                    <a:pt x="17150" y="183600"/>
                  </a:cubicBezTo>
                  <a:cubicBezTo>
                    <a:pt x="11191" y="182483"/>
                    <a:pt x="2998" y="179876"/>
                    <a:pt x="19" y="173172"/>
                  </a:cubicBezTo>
                  <a:cubicBezTo>
                    <a:pt x="-354" y="165724"/>
                    <a:pt x="4488" y="157159"/>
                    <a:pt x="16405" y="149710"/>
                  </a:cubicBezTo>
                  <a:cubicBezTo>
                    <a:pt x="4488" y="142262"/>
                    <a:pt x="19" y="133324"/>
                    <a:pt x="19" y="126248"/>
                  </a:cubicBezTo>
                  <a:cubicBezTo>
                    <a:pt x="2998" y="119545"/>
                    <a:pt x="10819" y="116938"/>
                    <a:pt x="17150" y="115821"/>
                  </a:cubicBezTo>
                  <a:cubicBezTo>
                    <a:pt x="12681" y="106510"/>
                    <a:pt x="10819" y="96083"/>
                    <a:pt x="11936" y="86028"/>
                  </a:cubicBezTo>
                  <a:cubicBezTo>
                    <a:pt x="48433" y="88262"/>
                    <a:pt x="46571" y="109862"/>
                    <a:pt x="70405" y="120290"/>
                  </a:cubicBezTo>
                  <a:cubicBezTo>
                    <a:pt x="81950" y="122897"/>
                    <a:pt x="100943" y="126248"/>
                    <a:pt x="111743" y="128483"/>
                  </a:cubicBezTo>
                  <a:cubicBezTo>
                    <a:pt x="106157" y="122524"/>
                    <a:pt x="92377" y="106510"/>
                    <a:pt x="84184" y="97200"/>
                  </a:cubicBezTo>
                  <a:cubicBezTo>
                    <a:pt x="62584" y="81559"/>
                    <a:pt x="45081" y="94593"/>
                    <a:pt x="25343" y="63683"/>
                  </a:cubicBezTo>
                  <a:cubicBezTo>
                    <a:pt x="33908" y="57724"/>
                    <a:pt x="43591" y="54372"/>
                    <a:pt x="53646" y="53628"/>
                  </a:cubicBezTo>
                  <a:cubicBezTo>
                    <a:pt x="52157" y="49159"/>
                    <a:pt x="49922" y="39103"/>
                    <a:pt x="54391" y="32400"/>
                  </a:cubicBezTo>
                  <a:cubicBezTo>
                    <a:pt x="59977" y="28676"/>
                    <a:pt x="68915" y="27931"/>
                    <a:pt x="81577" y="34634"/>
                  </a:cubicBezTo>
                  <a:cubicBezTo>
                    <a:pt x="82322" y="21228"/>
                    <a:pt x="87536" y="12662"/>
                    <a:pt x="93867" y="9310"/>
                  </a:cubicBezTo>
                  <a:cubicBezTo>
                    <a:pt x="100198" y="8938"/>
                    <a:pt x="106157" y="12662"/>
                    <a:pt x="112115" y="19738"/>
                  </a:cubicBezTo>
                  <a:cubicBezTo>
                    <a:pt x="117701" y="11172"/>
                    <a:pt x="125522" y="4469"/>
                    <a:pt x="134833" y="0"/>
                  </a:cubicBezTo>
                  <a:close/>
                </a:path>
              </a:pathLst>
            </a:custGeom>
            <a:solidFill>
              <a:srgbClr val="FFFFFF"/>
            </a:solidFill>
            <a:ln w="3709" cap="flat">
              <a:noFill/>
              <a:prstDash val="solid"/>
              <a:miter/>
            </a:ln>
          </p:spPr>
          <p:txBody>
            <a:bodyPr wrap="square" rtlCol="0" anchor="ctr">
              <a:noAutofit/>
            </a:bodyPr>
            <a:lstStyle/>
            <a:p>
              <a:endParaRPr lang="sv-SE" sz="1350"/>
            </a:p>
          </p:txBody>
        </p:sp>
      </p:grpSp>
      <p:grpSp>
        <p:nvGrpSpPr>
          <p:cNvPr id="19" name="Folktandvården" hidden="1">
            <a:extLst>
              <a:ext uri="{FF2B5EF4-FFF2-40B4-BE49-F238E27FC236}">
                <a16:creationId xmlns:a16="http://schemas.microsoft.com/office/drawing/2014/main" id="{CB1505E5-50E5-4EC9-9FF6-0373F4F0F8ED}"/>
              </a:ext>
            </a:extLst>
          </p:cNvPr>
          <p:cNvGrpSpPr/>
          <p:nvPr userDrawn="1"/>
        </p:nvGrpSpPr>
        <p:grpSpPr>
          <a:xfrm>
            <a:off x="7490644" y="4673580"/>
            <a:ext cx="1653356" cy="324970"/>
            <a:chOff x="9987525" y="6231440"/>
            <a:chExt cx="2204474" cy="433293"/>
          </a:xfrm>
        </p:grpSpPr>
        <p:sp>
          <p:nvSpPr>
            <p:cNvPr id="20" name="Rektangel 19">
              <a:extLst>
                <a:ext uri="{FF2B5EF4-FFF2-40B4-BE49-F238E27FC236}">
                  <a16:creationId xmlns:a16="http://schemas.microsoft.com/office/drawing/2014/main" id="{6825D4B3-1153-4A27-A191-5CF8CE582538}"/>
                </a:ext>
              </a:extLst>
            </p:cNvPr>
            <p:cNvSpPr/>
            <p:nvPr userDrawn="1"/>
          </p:nvSpPr>
          <p:spPr>
            <a:xfrm>
              <a:off x="11604170" y="6231440"/>
              <a:ext cx="587829" cy="433117"/>
            </a:xfrm>
            <a:prstGeom prst="rect">
              <a:avLst/>
            </a:prstGeom>
            <a:solidFill>
              <a:srgbClr val="0861CE"/>
            </a:solidFill>
            <a:ln w="3709" cap="flat">
              <a:noFill/>
              <a:prstDash val="solid"/>
              <a:miter/>
            </a:ln>
          </p:spPr>
          <p:txBody>
            <a:bodyPr rtlCol="0" anchor="ctr"/>
            <a:lstStyle/>
            <a:p>
              <a:endParaRPr lang="sv-SE" sz="1350"/>
            </a:p>
          </p:txBody>
        </p:sp>
        <p:sp>
          <p:nvSpPr>
            <p:cNvPr id="21" name="Frihandsfigur: Form 20">
              <a:extLst>
                <a:ext uri="{FF2B5EF4-FFF2-40B4-BE49-F238E27FC236}">
                  <a16:creationId xmlns:a16="http://schemas.microsoft.com/office/drawing/2014/main" id="{733CB4E6-6D27-4478-8C94-EE4CEB03065A}"/>
                </a:ext>
              </a:extLst>
            </p:cNvPr>
            <p:cNvSpPr/>
            <p:nvPr userDrawn="1"/>
          </p:nvSpPr>
          <p:spPr>
            <a:xfrm>
              <a:off x="9987525" y="6231616"/>
              <a:ext cx="1616646" cy="433117"/>
            </a:xfrm>
            <a:custGeom>
              <a:avLst/>
              <a:gdLst>
                <a:gd name="connsiteX0" fmla="*/ 216372 w 1616646"/>
                <a:gd name="connsiteY0" fmla="*/ 0 h 433117"/>
                <a:gd name="connsiteX1" fmla="*/ 1616646 w 1616646"/>
                <a:gd name="connsiteY1" fmla="*/ 0 h 433117"/>
                <a:gd name="connsiteX2" fmla="*/ 1616646 w 1616646"/>
                <a:gd name="connsiteY2" fmla="*/ 0 h 433117"/>
                <a:gd name="connsiteX3" fmla="*/ 1616646 w 1616646"/>
                <a:gd name="connsiteY3" fmla="*/ 433117 h 433117"/>
                <a:gd name="connsiteX4" fmla="*/ 1616646 w 1616646"/>
                <a:gd name="connsiteY4" fmla="*/ 433117 h 433117"/>
                <a:gd name="connsiteX5" fmla="*/ 216372 w 1616646"/>
                <a:gd name="connsiteY5" fmla="*/ 433117 h 433117"/>
                <a:gd name="connsiteX6" fmla="*/ 0 w 1616646"/>
                <a:gd name="connsiteY6" fmla="*/ 216372 h 433117"/>
                <a:gd name="connsiteX7" fmla="*/ 0 w 1616646"/>
                <a:gd name="connsiteY7" fmla="*/ 216372 h 433117"/>
                <a:gd name="connsiteX8" fmla="*/ 0 w 1616646"/>
                <a:gd name="connsiteY8" fmla="*/ 216372 h 433117"/>
                <a:gd name="connsiteX9" fmla="*/ 216372 w 1616646"/>
                <a:gd name="connsiteY9" fmla="*/ 0 h 433117"/>
                <a:gd name="connsiteX10" fmla="*/ 216372 w 1616646"/>
                <a:gd name="connsiteY10" fmla="*/ 0 h 43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646" h="433117">
                  <a:moveTo>
                    <a:pt x="216372" y="0"/>
                  </a:moveTo>
                  <a:lnTo>
                    <a:pt x="1616646" y="0"/>
                  </a:lnTo>
                  <a:lnTo>
                    <a:pt x="1616646" y="0"/>
                  </a:lnTo>
                  <a:lnTo>
                    <a:pt x="1616646" y="433117"/>
                  </a:lnTo>
                  <a:lnTo>
                    <a:pt x="1616646" y="433117"/>
                  </a:lnTo>
                  <a:lnTo>
                    <a:pt x="216372" y="433117"/>
                  </a:lnTo>
                  <a:cubicBezTo>
                    <a:pt x="96827" y="433117"/>
                    <a:pt x="0" y="335917"/>
                    <a:pt x="0" y="216372"/>
                  </a:cubicBezTo>
                  <a:cubicBezTo>
                    <a:pt x="0" y="216372"/>
                    <a:pt x="0" y="216372"/>
                    <a:pt x="0" y="216372"/>
                  </a:cubicBezTo>
                  <a:lnTo>
                    <a:pt x="0" y="216372"/>
                  </a:lnTo>
                  <a:cubicBezTo>
                    <a:pt x="0" y="96828"/>
                    <a:pt x="96827" y="0"/>
                    <a:pt x="216372" y="0"/>
                  </a:cubicBezTo>
                  <a:cubicBezTo>
                    <a:pt x="216372" y="0"/>
                    <a:pt x="216372" y="0"/>
                    <a:pt x="216372" y="0"/>
                  </a:cubicBezTo>
                  <a:close/>
                </a:path>
              </a:pathLst>
            </a:custGeom>
            <a:solidFill>
              <a:srgbClr val="0861CE"/>
            </a:solidFill>
            <a:ln w="3709" cap="flat">
              <a:noFill/>
              <a:prstDash val="solid"/>
              <a:miter/>
            </a:ln>
          </p:spPr>
          <p:txBody>
            <a:bodyPr rtlCol="0" anchor="ctr"/>
            <a:lstStyle/>
            <a:p>
              <a:endParaRPr lang="sv-SE" sz="1350"/>
            </a:p>
          </p:txBody>
        </p:sp>
        <p:pic>
          <p:nvPicPr>
            <p:cNvPr id="22" name="Bild 21">
              <a:extLst>
                <a:ext uri="{FF2B5EF4-FFF2-40B4-BE49-F238E27FC236}">
                  <a16:creationId xmlns:a16="http://schemas.microsoft.com/office/drawing/2014/main" id="{E824F4AB-10C3-4CFA-9E4C-AF9E9E011C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71462" y="6301064"/>
              <a:ext cx="1832076" cy="305346"/>
            </a:xfrm>
            <a:prstGeom prst="rect">
              <a:avLst/>
            </a:prstGeom>
          </p:spPr>
        </p:pic>
      </p:grpSp>
    </p:spTree>
    <p:extLst>
      <p:ext uri="{BB962C8B-B14F-4D97-AF65-F5344CB8AC3E}">
        <p14:creationId xmlns:p14="http://schemas.microsoft.com/office/powerpoint/2010/main" val="380160923"/>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427E91-5AB5-49BF-830C-A19C6A5AD02B}"/>
              </a:ext>
            </a:extLst>
          </p:cNvPr>
          <p:cNvSpPr>
            <a:spLocks noGrp="1"/>
          </p:cNvSpPr>
          <p:nvPr>
            <p:ph type="title"/>
          </p:nvPr>
        </p:nvSpPr>
        <p:spPr>
          <a:xfrm>
            <a:off x="405000" y="276225"/>
            <a:ext cx="7443000" cy="712408"/>
          </a:xfrm>
        </p:spPr>
        <p:txBody>
          <a:bodyPr/>
          <a:lstStyle/>
          <a:p>
            <a:r>
              <a:rPr lang="sv-SE"/>
              <a:t>Klicka här för att ändra mall för rubrikformat</a:t>
            </a:r>
            <a:endParaRPr lang="sv-SE" dirty="0"/>
          </a:p>
        </p:txBody>
      </p:sp>
      <p:sp>
        <p:nvSpPr>
          <p:cNvPr id="6" name="Platshållare för bildnummer 5">
            <a:extLst>
              <a:ext uri="{FF2B5EF4-FFF2-40B4-BE49-F238E27FC236}">
                <a16:creationId xmlns:a16="http://schemas.microsoft.com/office/drawing/2014/main" id="{AE1D96D2-CE5B-4DB9-90E8-B6EBAEC89033}"/>
              </a:ext>
              <a:ext uri="{C183D7F6-B498-43B3-948B-1728B52AA6E4}">
                <adec:decorative xmlns:adec="http://schemas.microsoft.com/office/drawing/2017/decorative" val="0"/>
              </a:ext>
            </a:extLst>
          </p:cNvPr>
          <p:cNvSpPr>
            <a:spLocks noGrp="1"/>
          </p:cNvSpPr>
          <p:nvPr>
            <p:ph type="sldNum" sz="quarter" idx="12"/>
          </p:nvPr>
        </p:nvSpPr>
        <p:spPr/>
        <p:txBody>
          <a:bodyPr/>
          <a:lstStyle/>
          <a:p>
            <a:fld id="{5204B58B-0420-4827-A2A8-7A3D043AFDDE}" type="slidenum">
              <a:rPr lang="sv-SE" smtClean="0"/>
              <a:t>‹#›</a:t>
            </a:fld>
            <a:endParaRPr lang="sv-SE" dirty="0"/>
          </a:p>
        </p:txBody>
      </p:sp>
      <p:sp>
        <p:nvSpPr>
          <p:cNvPr id="5" name="Platshållare för innehåll 4">
            <a:extLst>
              <a:ext uri="{FF2B5EF4-FFF2-40B4-BE49-F238E27FC236}">
                <a16:creationId xmlns:a16="http://schemas.microsoft.com/office/drawing/2014/main" id="{B15977CA-24A3-46EE-8707-F28C7E188338}"/>
              </a:ext>
            </a:extLst>
          </p:cNvPr>
          <p:cNvSpPr>
            <a:spLocks noGrp="1"/>
          </p:cNvSpPr>
          <p:nvPr>
            <p:ph sz="quarter" idx="13"/>
          </p:nvPr>
        </p:nvSpPr>
        <p:spPr>
          <a:xfrm>
            <a:off x="1290637" y="1353582"/>
            <a:ext cx="6568679" cy="305038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852085002"/>
      </p:ext>
    </p:extLst>
  </p:cSld>
  <p:clrMapOvr>
    <a:masterClrMapping/>
  </p:clrMapOvr>
  <p:hf hdr="0" ftr="0" dt="0"/>
  <p:extLst>
    <p:ext uri="{DCECCB84-F9BA-43D5-87BE-67443E8EF086}">
      <p15:sldGuideLst xmlns:p15="http://schemas.microsoft.com/office/powerpoint/2012/main">
        <p15:guide id="1" pos="6601">
          <p15:clr>
            <a:srgbClr val="FBAE40"/>
          </p15:clr>
        </p15:guide>
        <p15:guide id="2" orient="horz" pos="113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ubrik och innehåll på bakgr">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175A820-5952-4495-B707-4DD695C799DD}"/>
              </a:ext>
              <a:ext uri="{C183D7F6-B498-43B3-948B-1728B52AA6E4}">
                <adec:decorative xmlns:adec="http://schemas.microsoft.com/office/drawing/2017/decorative" val="1"/>
              </a:ext>
            </a:extLst>
          </p:cNvPr>
          <p:cNvSpPr/>
          <p:nvPr userDrawn="1"/>
        </p:nvSpPr>
        <p:spPr>
          <a:xfrm>
            <a:off x="0" y="1219200"/>
            <a:ext cx="9144000" cy="33193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2" name="Rubrik 1">
            <a:extLst>
              <a:ext uri="{FF2B5EF4-FFF2-40B4-BE49-F238E27FC236}">
                <a16:creationId xmlns:a16="http://schemas.microsoft.com/office/drawing/2014/main" id="{37427E91-5AB5-49BF-830C-A19C6A5AD02B}"/>
              </a:ext>
            </a:extLst>
          </p:cNvPr>
          <p:cNvSpPr>
            <a:spLocks noGrp="1"/>
          </p:cNvSpPr>
          <p:nvPr>
            <p:ph type="title"/>
          </p:nvPr>
        </p:nvSpPr>
        <p:spPr>
          <a:xfrm>
            <a:off x="405000" y="276225"/>
            <a:ext cx="7447500" cy="712408"/>
          </a:xfrm>
        </p:spPr>
        <p:txBody>
          <a:bodyPr/>
          <a:lstStyle/>
          <a:p>
            <a:r>
              <a:rPr lang="sv-SE"/>
              <a:t>Klicka här för att ändra mall för rubrikformat</a:t>
            </a:r>
            <a:endParaRPr lang="sv-SE" dirty="0"/>
          </a:p>
        </p:txBody>
      </p:sp>
      <p:sp>
        <p:nvSpPr>
          <p:cNvPr id="6" name="Platshållare för bildnummer 5">
            <a:extLst>
              <a:ext uri="{FF2B5EF4-FFF2-40B4-BE49-F238E27FC236}">
                <a16:creationId xmlns:a16="http://schemas.microsoft.com/office/drawing/2014/main" id="{AE1D96D2-CE5B-4DB9-90E8-B6EBAEC89033}"/>
              </a:ext>
            </a:extLst>
          </p:cNvPr>
          <p:cNvSpPr>
            <a:spLocks noGrp="1"/>
          </p:cNvSpPr>
          <p:nvPr>
            <p:ph type="sldNum" sz="quarter" idx="12"/>
          </p:nvPr>
        </p:nvSpPr>
        <p:spPr/>
        <p:txBody>
          <a:bodyPr/>
          <a:lstStyle/>
          <a:p>
            <a:fld id="{5204B58B-0420-4827-A2A8-7A3D043AFDDE}" type="slidenum">
              <a:rPr lang="sv-SE" smtClean="0"/>
              <a:t>‹#›</a:t>
            </a:fld>
            <a:endParaRPr lang="sv-SE" dirty="0"/>
          </a:p>
        </p:txBody>
      </p:sp>
      <p:sp>
        <p:nvSpPr>
          <p:cNvPr id="8" name="Platshållare för innehåll 4">
            <a:extLst>
              <a:ext uri="{FF2B5EF4-FFF2-40B4-BE49-F238E27FC236}">
                <a16:creationId xmlns:a16="http://schemas.microsoft.com/office/drawing/2014/main" id="{96CE93CC-1359-4CCF-A9A7-0D4D54F8EA56}"/>
              </a:ext>
            </a:extLst>
          </p:cNvPr>
          <p:cNvSpPr>
            <a:spLocks noGrp="1"/>
          </p:cNvSpPr>
          <p:nvPr>
            <p:ph sz="quarter" idx="13"/>
          </p:nvPr>
        </p:nvSpPr>
        <p:spPr>
          <a:xfrm>
            <a:off x="1290637" y="1353582"/>
            <a:ext cx="6568679" cy="305038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156972156"/>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Innehåll, två delar">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1A5529F-59CA-47AD-9F2E-580F8914CE62}"/>
              </a:ext>
            </a:extLst>
          </p:cNvPr>
          <p:cNvSpPr>
            <a:spLocks noGrp="1"/>
          </p:cNvSpPr>
          <p:nvPr>
            <p:ph type="title"/>
          </p:nvPr>
        </p:nvSpPr>
        <p:spPr>
          <a:xfrm>
            <a:off x="405450" y="276225"/>
            <a:ext cx="8334000" cy="712408"/>
          </a:xfrm>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9B45E356-4410-4C0C-A019-77B8B12A3CE5}"/>
              </a:ext>
            </a:extLst>
          </p:cNvPr>
          <p:cNvSpPr>
            <a:spLocks noGrp="1"/>
          </p:cNvSpPr>
          <p:nvPr>
            <p:ph sz="half" idx="1"/>
          </p:nvPr>
        </p:nvSpPr>
        <p:spPr>
          <a:xfrm>
            <a:off x="402750" y="1354199"/>
            <a:ext cx="3863694" cy="30456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a:extLst>
              <a:ext uri="{FF2B5EF4-FFF2-40B4-BE49-F238E27FC236}">
                <a16:creationId xmlns:a16="http://schemas.microsoft.com/office/drawing/2014/main" id="{4747D080-8E2C-49CA-B749-61DD24CC21C8}"/>
              </a:ext>
            </a:extLst>
          </p:cNvPr>
          <p:cNvSpPr>
            <a:spLocks noGrp="1"/>
          </p:cNvSpPr>
          <p:nvPr>
            <p:ph sz="half" idx="2"/>
          </p:nvPr>
        </p:nvSpPr>
        <p:spPr>
          <a:xfrm>
            <a:off x="4875750" y="1354199"/>
            <a:ext cx="3863700" cy="30456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bildnummer 6">
            <a:extLst>
              <a:ext uri="{FF2B5EF4-FFF2-40B4-BE49-F238E27FC236}">
                <a16:creationId xmlns:a16="http://schemas.microsoft.com/office/drawing/2014/main" id="{85C4A553-AD9D-4197-A713-E1B8FD3A3BC0}"/>
              </a:ext>
              <a:ext uri="{C183D7F6-B498-43B3-948B-1728B52AA6E4}">
                <adec:decorative xmlns:adec="http://schemas.microsoft.com/office/drawing/2017/decorative" val="0"/>
              </a:ext>
            </a:extLst>
          </p:cNvPr>
          <p:cNvSpPr>
            <a:spLocks noGrp="1"/>
          </p:cNvSpPr>
          <p:nvPr>
            <p:ph type="sldNum" sz="quarter" idx="12"/>
          </p:nvPr>
        </p:nvSpPr>
        <p:spPr/>
        <p:txBody>
          <a:bodyPr/>
          <a:lstStyle/>
          <a:p>
            <a:fld id="{5204B58B-0420-4827-A2A8-7A3D043AFDDE}" type="slidenum">
              <a:rPr lang="sv-SE" smtClean="0"/>
              <a:t>‹#›</a:t>
            </a:fld>
            <a:endParaRPr lang="sv-SE" dirty="0"/>
          </a:p>
        </p:txBody>
      </p:sp>
    </p:spTree>
    <p:extLst>
      <p:ext uri="{BB962C8B-B14F-4D97-AF65-F5344CB8AC3E}">
        <p14:creationId xmlns:p14="http://schemas.microsoft.com/office/powerpoint/2010/main" val="1714799018"/>
      </p:ext>
    </p:extLst>
  </p:cSld>
  <p:clrMapOvr>
    <a:masterClrMapping/>
  </p:clrMapOvr>
  <p:hf hdr="0" ftr="0" dt="0"/>
  <p:extLst>
    <p:ext uri="{DCECCB84-F9BA-43D5-87BE-67443E8EF086}">
      <p15:sldGuideLst xmlns:p15="http://schemas.microsoft.com/office/powerpoint/2012/main">
        <p15:guide id="1" pos="734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ubrik och innehåll, två delar">
    <p:bg>
      <p:bgPr>
        <a:solidFill>
          <a:schemeClr val="accent2"/>
        </a:solidFill>
        <a:effectLst/>
      </p:bgPr>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6F2706FC-BC58-4896-B7C3-C5517CE50790}"/>
              </a:ext>
              <a:ext uri="{C183D7F6-B498-43B3-948B-1728B52AA6E4}">
                <adec:decorative xmlns:adec="http://schemas.microsoft.com/office/drawing/2017/decorative" val="1"/>
              </a:ext>
            </a:extLst>
          </p:cNvPr>
          <p:cNvSpPr/>
          <p:nvPr userDrawn="1"/>
        </p:nvSpPr>
        <p:spPr>
          <a:xfrm>
            <a:off x="135000" y="134999"/>
            <a:ext cx="4403250" cy="4403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11" name="Rektangel 10">
            <a:extLst>
              <a:ext uri="{FF2B5EF4-FFF2-40B4-BE49-F238E27FC236}">
                <a16:creationId xmlns:a16="http://schemas.microsoft.com/office/drawing/2014/main" id="{527B897B-5996-4908-A7A9-75583FFA4468}"/>
              </a:ext>
              <a:ext uri="{C183D7F6-B498-43B3-948B-1728B52AA6E4}">
                <adec:decorative xmlns:adec="http://schemas.microsoft.com/office/drawing/2017/decorative" val="1"/>
              </a:ext>
            </a:extLst>
          </p:cNvPr>
          <p:cNvSpPr/>
          <p:nvPr userDrawn="1"/>
        </p:nvSpPr>
        <p:spPr>
          <a:xfrm>
            <a:off x="4605750" y="135000"/>
            <a:ext cx="4403250" cy="4403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2" name="Rubrik 1">
            <a:extLst>
              <a:ext uri="{FF2B5EF4-FFF2-40B4-BE49-F238E27FC236}">
                <a16:creationId xmlns:a16="http://schemas.microsoft.com/office/drawing/2014/main" id="{61A5529F-59CA-47AD-9F2E-580F8914CE62}"/>
              </a:ext>
            </a:extLst>
          </p:cNvPr>
          <p:cNvSpPr>
            <a:spLocks noGrp="1"/>
          </p:cNvSpPr>
          <p:nvPr>
            <p:ph type="title"/>
          </p:nvPr>
        </p:nvSpPr>
        <p:spPr>
          <a:xfrm>
            <a:off x="405000" y="276225"/>
            <a:ext cx="3863700" cy="712408"/>
          </a:xfrm>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9B45E356-4410-4C0C-A019-77B8B12A3CE5}"/>
              </a:ext>
            </a:extLst>
          </p:cNvPr>
          <p:cNvSpPr>
            <a:spLocks noGrp="1"/>
          </p:cNvSpPr>
          <p:nvPr>
            <p:ph sz="half" idx="1"/>
          </p:nvPr>
        </p:nvSpPr>
        <p:spPr>
          <a:xfrm>
            <a:off x="405000" y="1354200"/>
            <a:ext cx="3863700" cy="304515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a:extLst>
              <a:ext uri="{FF2B5EF4-FFF2-40B4-BE49-F238E27FC236}">
                <a16:creationId xmlns:a16="http://schemas.microsoft.com/office/drawing/2014/main" id="{4747D080-8E2C-49CA-B749-61DD24CC21C8}"/>
              </a:ext>
            </a:extLst>
          </p:cNvPr>
          <p:cNvSpPr>
            <a:spLocks noGrp="1"/>
          </p:cNvSpPr>
          <p:nvPr>
            <p:ph sz="half" idx="2"/>
          </p:nvPr>
        </p:nvSpPr>
        <p:spPr>
          <a:xfrm>
            <a:off x="4875750" y="1354200"/>
            <a:ext cx="3863700" cy="304516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bildnummer 6">
            <a:extLst>
              <a:ext uri="{FF2B5EF4-FFF2-40B4-BE49-F238E27FC236}">
                <a16:creationId xmlns:a16="http://schemas.microsoft.com/office/drawing/2014/main" id="{85C4A553-AD9D-4197-A713-E1B8FD3A3BC0}"/>
              </a:ext>
            </a:extLst>
          </p:cNvPr>
          <p:cNvSpPr>
            <a:spLocks noGrp="1"/>
          </p:cNvSpPr>
          <p:nvPr>
            <p:ph type="sldNum" sz="quarter" idx="12"/>
          </p:nvPr>
        </p:nvSpPr>
        <p:spPr/>
        <p:txBody>
          <a:bodyPr/>
          <a:lstStyle/>
          <a:p>
            <a:fld id="{5204B58B-0420-4827-A2A8-7A3D043AFDDE}" type="slidenum">
              <a:rPr lang="sv-SE" smtClean="0"/>
              <a:t>‹#›</a:t>
            </a:fld>
            <a:endParaRPr lang="sv-SE" dirty="0"/>
          </a:p>
        </p:txBody>
      </p:sp>
      <p:sp>
        <p:nvSpPr>
          <p:cNvPr id="22" name="Platshållare för text 21">
            <a:extLst>
              <a:ext uri="{FF2B5EF4-FFF2-40B4-BE49-F238E27FC236}">
                <a16:creationId xmlns:a16="http://schemas.microsoft.com/office/drawing/2014/main" id="{7AF83559-D40C-4749-82F6-0DB5F9D8B7E4}"/>
              </a:ext>
            </a:extLst>
          </p:cNvPr>
          <p:cNvSpPr>
            <a:spLocks noGrp="1"/>
          </p:cNvSpPr>
          <p:nvPr>
            <p:ph type="body" sz="quarter" idx="13"/>
          </p:nvPr>
        </p:nvSpPr>
        <p:spPr>
          <a:xfrm>
            <a:off x="4875750" y="276225"/>
            <a:ext cx="3863700" cy="711994"/>
          </a:xfrm>
        </p:spPr>
        <p:txBody>
          <a:bodyPr anchor="b" anchorCtr="0"/>
          <a:lstStyle>
            <a:lvl1pPr marL="0" indent="0" algn="l" defTabSz="685800" rtl="0" eaLnBrk="1" latinLnBrk="0" hangingPunct="1">
              <a:lnSpc>
                <a:spcPct val="90000"/>
              </a:lnSpc>
              <a:spcBef>
                <a:spcPct val="0"/>
              </a:spcBef>
              <a:buNone/>
              <a:defRPr lang="sv-SE" sz="2100" b="1" kern="1200" dirty="0">
                <a:solidFill>
                  <a:schemeClr val="tx1"/>
                </a:solidFill>
                <a:latin typeface="+mn-lt"/>
                <a:ea typeface="+mj-ea"/>
                <a:cs typeface="+mj-cs"/>
              </a:defRPr>
            </a:lvl1pPr>
            <a:lvl2pPr>
              <a:defRPr sz="2100" b="1"/>
            </a:lvl2pPr>
            <a:lvl3pPr>
              <a:defRPr sz="2100" b="1"/>
            </a:lvl3pPr>
            <a:lvl4pPr>
              <a:defRPr sz="2100" b="1"/>
            </a:lvl4pPr>
            <a:lvl5pPr>
              <a:defRPr sz="2100" b="1"/>
            </a:lvl5pPr>
          </a:lstStyle>
          <a:p>
            <a:pPr lvl="0"/>
            <a:r>
              <a:rPr lang="sv-SE"/>
              <a:t>Klicka här för att ändra format på bakgrundstexten</a:t>
            </a:r>
          </a:p>
        </p:txBody>
      </p:sp>
    </p:spTree>
    <p:extLst>
      <p:ext uri="{BB962C8B-B14F-4D97-AF65-F5344CB8AC3E}">
        <p14:creationId xmlns:p14="http://schemas.microsoft.com/office/powerpoint/2010/main" val="1702562686"/>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vå bilder höger">
    <p:bg>
      <p:bgPr>
        <a:solidFill>
          <a:schemeClr val="accent2"/>
        </a:solidFill>
        <a:effectLst/>
      </p:bgPr>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6F2706FC-BC58-4896-B7C3-C5517CE50790}"/>
              </a:ext>
              <a:ext uri="{C183D7F6-B498-43B3-948B-1728B52AA6E4}">
                <adec:decorative xmlns:adec="http://schemas.microsoft.com/office/drawing/2017/decorative" val="1"/>
              </a:ext>
            </a:extLst>
          </p:cNvPr>
          <p:cNvSpPr/>
          <p:nvPr userDrawn="1"/>
        </p:nvSpPr>
        <p:spPr>
          <a:xfrm>
            <a:off x="135000" y="134999"/>
            <a:ext cx="5267786" cy="4403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2" name="Rubrik 1">
            <a:extLst>
              <a:ext uri="{FF2B5EF4-FFF2-40B4-BE49-F238E27FC236}">
                <a16:creationId xmlns:a16="http://schemas.microsoft.com/office/drawing/2014/main" id="{61A5529F-59CA-47AD-9F2E-580F8914CE62}"/>
              </a:ext>
            </a:extLst>
          </p:cNvPr>
          <p:cNvSpPr>
            <a:spLocks noGrp="1"/>
          </p:cNvSpPr>
          <p:nvPr>
            <p:ph type="title"/>
          </p:nvPr>
        </p:nvSpPr>
        <p:spPr>
          <a:xfrm>
            <a:off x="405000" y="276225"/>
            <a:ext cx="4723817" cy="712408"/>
          </a:xfrm>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9B45E356-4410-4C0C-A019-77B8B12A3CE5}"/>
              </a:ext>
            </a:extLst>
          </p:cNvPr>
          <p:cNvSpPr>
            <a:spLocks noGrp="1"/>
          </p:cNvSpPr>
          <p:nvPr>
            <p:ph sz="half" idx="1"/>
          </p:nvPr>
        </p:nvSpPr>
        <p:spPr>
          <a:xfrm>
            <a:off x="405000" y="1354200"/>
            <a:ext cx="4723817" cy="304515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bildnummer 6">
            <a:extLst>
              <a:ext uri="{FF2B5EF4-FFF2-40B4-BE49-F238E27FC236}">
                <a16:creationId xmlns:a16="http://schemas.microsoft.com/office/drawing/2014/main" id="{85C4A553-AD9D-4197-A713-E1B8FD3A3BC0}"/>
              </a:ext>
            </a:extLst>
          </p:cNvPr>
          <p:cNvSpPr>
            <a:spLocks noGrp="1"/>
          </p:cNvSpPr>
          <p:nvPr>
            <p:ph type="sldNum" sz="quarter" idx="12"/>
          </p:nvPr>
        </p:nvSpPr>
        <p:spPr/>
        <p:txBody>
          <a:bodyPr/>
          <a:lstStyle/>
          <a:p>
            <a:fld id="{5204B58B-0420-4827-A2A8-7A3D043AFDDE}" type="slidenum">
              <a:rPr lang="sv-SE" smtClean="0"/>
              <a:t>‹#›</a:t>
            </a:fld>
            <a:endParaRPr lang="sv-SE" dirty="0"/>
          </a:p>
        </p:txBody>
      </p:sp>
      <p:sp>
        <p:nvSpPr>
          <p:cNvPr id="6" name="Platshållare för bild 5">
            <a:extLst>
              <a:ext uri="{FF2B5EF4-FFF2-40B4-BE49-F238E27FC236}">
                <a16:creationId xmlns:a16="http://schemas.microsoft.com/office/drawing/2014/main" id="{4C6E1B76-2B7B-4533-BF68-0C133455A61D}"/>
              </a:ext>
            </a:extLst>
          </p:cNvPr>
          <p:cNvSpPr>
            <a:spLocks noGrp="1"/>
          </p:cNvSpPr>
          <p:nvPr>
            <p:ph type="pic" sz="quarter" idx="13" hasCustomPrompt="1"/>
          </p:nvPr>
        </p:nvSpPr>
        <p:spPr>
          <a:xfrm>
            <a:off x="5474255" y="135001"/>
            <a:ext cx="3533274" cy="2167979"/>
          </a:xfrm>
        </p:spPr>
        <p:txBody>
          <a:bodyPr anchor="ctr"/>
          <a:lstStyle>
            <a:lvl1pPr marL="0" indent="0" algn="ctr">
              <a:buNone/>
              <a:defRPr/>
            </a:lvl1pPr>
          </a:lstStyle>
          <a:p>
            <a:pPr marL="0" marR="0" lvl="0" indent="0" algn="ctr" defTabSz="685800" rtl="0" eaLnBrk="1" fontAlgn="auto" latinLnBrk="0" hangingPunct="1">
              <a:lnSpc>
                <a:spcPct val="110000"/>
              </a:lnSpc>
              <a:spcBef>
                <a:spcPts val="1350"/>
              </a:spcBef>
              <a:spcAft>
                <a:spcPts val="0"/>
              </a:spcAft>
              <a:buClrTx/>
              <a:buSzTx/>
              <a:buFont typeface="Arial" panose="020B0604020202020204" pitchFamily="34" charset="0"/>
              <a:buNone/>
              <a:tabLst/>
              <a:defRPr/>
            </a:pPr>
            <a:r>
              <a:rPr lang="sv-SE" dirty="0"/>
              <a:t>Markera bildplatshållaren och infoga önskad bild</a:t>
            </a:r>
          </a:p>
        </p:txBody>
      </p:sp>
      <p:sp>
        <p:nvSpPr>
          <p:cNvPr id="27" name="Platshållare för bild 5">
            <a:extLst>
              <a:ext uri="{FF2B5EF4-FFF2-40B4-BE49-F238E27FC236}">
                <a16:creationId xmlns:a16="http://schemas.microsoft.com/office/drawing/2014/main" id="{4BA08390-5407-41BB-A6E1-93228F694523}"/>
              </a:ext>
            </a:extLst>
          </p:cNvPr>
          <p:cNvSpPr>
            <a:spLocks noGrp="1"/>
          </p:cNvSpPr>
          <p:nvPr>
            <p:ph type="pic" sz="quarter" idx="14" hasCustomPrompt="1"/>
          </p:nvPr>
        </p:nvSpPr>
        <p:spPr>
          <a:xfrm>
            <a:off x="5474255" y="2370479"/>
            <a:ext cx="3533274" cy="2168100"/>
          </a:xfrm>
        </p:spPr>
        <p:txBody>
          <a:bodyPr anchor="ctr"/>
          <a:lstStyle>
            <a:lvl1pPr marL="0" indent="0" algn="ctr">
              <a:buNone/>
              <a:defRPr/>
            </a:lvl1pPr>
          </a:lstStyle>
          <a:p>
            <a:pPr marL="0" marR="0" lvl="0" indent="0" algn="ctr" defTabSz="685800" rtl="0" eaLnBrk="1" fontAlgn="auto" latinLnBrk="0" hangingPunct="1">
              <a:lnSpc>
                <a:spcPct val="110000"/>
              </a:lnSpc>
              <a:spcBef>
                <a:spcPts val="1350"/>
              </a:spcBef>
              <a:spcAft>
                <a:spcPts val="0"/>
              </a:spcAft>
              <a:buClrTx/>
              <a:buSzTx/>
              <a:buFont typeface="Arial" panose="020B0604020202020204" pitchFamily="34" charset="0"/>
              <a:buNone/>
              <a:tabLst/>
              <a:defRPr/>
            </a:pPr>
            <a:r>
              <a:rPr lang="sv-SE" dirty="0"/>
              <a:t>Markera bildplatshållaren och infoga önskad bild</a:t>
            </a:r>
          </a:p>
        </p:txBody>
      </p:sp>
    </p:spTree>
    <p:extLst>
      <p:ext uri="{BB962C8B-B14F-4D97-AF65-F5344CB8AC3E}">
        <p14:creationId xmlns:p14="http://schemas.microsoft.com/office/powerpoint/2010/main" val="1124235258"/>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ehåll och diagram">
    <p:bg>
      <p:bgPr>
        <a:solidFill>
          <a:schemeClr val="bg1"/>
        </a:solidFill>
        <a:effectLst/>
      </p:bgPr>
    </p:bg>
    <p:spTree>
      <p:nvGrpSpPr>
        <p:cNvPr id="1" name=""/>
        <p:cNvGrpSpPr/>
        <p:nvPr/>
      </p:nvGrpSpPr>
      <p:grpSpPr>
        <a:xfrm>
          <a:off x="0" y="0"/>
          <a:ext cx="0" cy="0"/>
          <a:chOff x="0" y="0"/>
          <a:chExt cx="0" cy="0"/>
        </a:xfrm>
      </p:grpSpPr>
      <p:sp>
        <p:nvSpPr>
          <p:cNvPr id="28" name="Rektangel 27">
            <a:extLst>
              <a:ext uri="{FF2B5EF4-FFF2-40B4-BE49-F238E27FC236}">
                <a16:creationId xmlns:a16="http://schemas.microsoft.com/office/drawing/2014/main" id="{82F502DB-62BC-4595-9412-35FEB7D21F12}"/>
              </a:ext>
              <a:ext uri="{C183D7F6-B498-43B3-948B-1728B52AA6E4}">
                <adec:decorative xmlns:adec="http://schemas.microsoft.com/office/drawing/2017/decorative" val="1"/>
              </a:ext>
            </a:extLst>
          </p:cNvPr>
          <p:cNvSpPr/>
          <p:nvPr userDrawn="1"/>
        </p:nvSpPr>
        <p:spPr>
          <a:xfrm>
            <a:off x="3741273" y="145410"/>
            <a:ext cx="5266256" cy="4392519"/>
          </a:xfrm>
          <a:prstGeom prst="rect">
            <a:avLst/>
          </a:prstGeom>
          <a:solidFill>
            <a:schemeClr val="bg1"/>
          </a:solidFill>
          <a:ln w="12700">
            <a:solidFill>
              <a:schemeClr val="accent2">
                <a:lumMod val="9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3" name="Platshållare för innehåll 2">
            <a:extLst>
              <a:ext uri="{FF2B5EF4-FFF2-40B4-BE49-F238E27FC236}">
                <a16:creationId xmlns:a16="http://schemas.microsoft.com/office/drawing/2014/main" id="{9B45E356-4410-4C0C-A019-77B8B12A3CE5}"/>
              </a:ext>
            </a:extLst>
          </p:cNvPr>
          <p:cNvSpPr>
            <a:spLocks noGrp="1"/>
          </p:cNvSpPr>
          <p:nvPr>
            <p:ph sz="half" idx="1"/>
          </p:nvPr>
        </p:nvSpPr>
        <p:spPr>
          <a:xfrm>
            <a:off x="4011272" y="403699"/>
            <a:ext cx="4728159" cy="386293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Rektangel 8">
            <a:extLst>
              <a:ext uri="{FF2B5EF4-FFF2-40B4-BE49-F238E27FC236}">
                <a16:creationId xmlns:a16="http://schemas.microsoft.com/office/drawing/2014/main" id="{6F2706FC-BC58-4896-B7C3-C5517CE50790}"/>
              </a:ext>
              <a:ext uri="{C183D7F6-B498-43B3-948B-1728B52AA6E4}">
                <adec:decorative xmlns:adec="http://schemas.microsoft.com/office/drawing/2017/decorative" val="1"/>
              </a:ext>
            </a:extLst>
          </p:cNvPr>
          <p:cNvSpPr/>
          <p:nvPr userDrawn="1"/>
        </p:nvSpPr>
        <p:spPr>
          <a:xfrm>
            <a:off x="135000" y="134349"/>
            <a:ext cx="3533274" cy="44035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2" name="Rubrik 1">
            <a:extLst>
              <a:ext uri="{FF2B5EF4-FFF2-40B4-BE49-F238E27FC236}">
                <a16:creationId xmlns:a16="http://schemas.microsoft.com/office/drawing/2014/main" id="{61A5529F-59CA-47AD-9F2E-580F8914CE62}"/>
              </a:ext>
            </a:extLst>
          </p:cNvPr>
          <p:cNvSpPr>
            <a:spLocks noGrp="1"/>
          </p:cNvSpPr>
          <p:nvPr>
            <p:ph type="title"/>
          </p:nvPr>
        </p:nvSpPr>
        <p:spPr>
          <a:xfrm>
            <a:off x="404458" y="275575"/>
            <a:ext cx="2996759" cy="712408"/>
          </a:xfrm>
        </p:spPr>
        <p:txBody>
          <a:bodyPr/>
          <a:lstStyle/>
          <a:p>
            <a:r>
              <a:rPr lang="sv-SE"/>
              <a:t>Klicka här för att ändra mall för rubrikformat</a:t>
            </a:r>
            <a:endParaRPr lang="sv-SE" dirty="0"/>
          </a:p>
        </p:txBody>
      </p:sp>
      <p:sp>
        <p:nvSpPr>
          <p:cNvPr id="7" name="Platshållare för bildnummer 6">
            <a:extLst>
              <a:ext uri="{FF2B5EF4-FFF2-40B4-BE49-F238E27FC236}">
                <a16:creationId xmlns:a16="http://schemas.microsoft.com/office/drawing/2014/main" id="{85C4A553-AD9D-4197-A713-E1B8FD3A3BC0}"/>
              </a:ext>
            </a:extLst>
          </p:cNvPr>
          <p:cNvSpPr>
            <a:spLocks noGrp="1"/>
          </p:cNvSpPr>
          <p:nvPr>
            <p:ph type="sldNum" sz="quarter" idx="12"/>
          </p:nvPr>
        </p:nvSpPr>
        <p:spPr/>
        <p:txBody>
          <a:bodyPr/>
          <a:lstStyle/>
          <a:p>
            <a:fld id="{5204B58B-0420-4827-A2A8-7A3D043AFDDE}" type="slidenum">
              <a:rPr lang="sv-SE" smtClean="0"/>
              <a:t>‹#›</a:t>
            </a:fld>
            <a:endParaRPr lang="sv-SE" dirty="0"/>
          </a:p>
        </p:txBody>
      </p:sp>
      <p:sp>
        <p:nvSpPr>
          <p:cNvPr id="10" name="Platshållare för innehåll 9">
            <a:extLst>
              <a:ext uri="{FF2B5EF4-FFF2-40B4-BE49-F238E27FC236}">
                <a16:creationId xmlns:a16="http://schemas.microsoft.com/office/drawing/2014/main" id="{833C6326-9831-45CF-A535-BA73CABAD9D2}"/>
              </a:ext>
            </a:extLst>
          </p:cNvPr>
          <p:cNvSpPr>
            <a:spLocks noGrp="1"/>
          </p:cNvSpPr>
          <p:nvPr>
            <p:ph sz="quarter" idx="13"/>
          </p:nvPr>
        </p:nvSpPr>
        <p:spPr>
          <a:xfrm>
            <a:off x="404569" y="1353549"/>
            <a:ext cx="3005648" cy="30456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286871977"/>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bild med foto bakom">
    <p:spTree>
      <p:nvGrpSpPr>
        <p:cNvPr id="1" name=""/>
        <p:cNvGrpSpPr/>
        <p:nvPr/>
      </p:nvGrpSpPr>
      <p:grpSpPr>
        <a:xfrm>
          <a:off x="0" y="0"/>
          <a:ext cx="0" cy="0"/>
          <a:chOff x="0" y="0"/>
          <a:chExt cx="0" cy="0"/>
        </a:xfrm>
      </p:grpSpPr>
      <p:sp>
        <p:nvSpPr>
          <p:cNvPr id="5" name="Platshållare för innehåll 2"/>
          <p:cNvSpPr>
            <a:spLocks noGrp="1"/>
          </p:cNvSpPr>
          <p:nvPr>
            <p:ph idx="1" hasCustomPrompt="1"/>
          </p:nvPr>
        </p:nvSpPr>
        <p:spPr>
          <a:xfrm>
            <a:off x="0" y="0"/>
            <a:ext cx="9144000" cy="5143500"/>
          </a:xfrm>
        </p:spPr>
        <p:txBody>
          <a:bodyPr/>
          <a:lstStyle>
            <a:lvl1pPr marL="0" indent="0">
              <a:buFontTx/>
              <a:buNone/>
              <a:defRPr baseline="0"/>
            </a:lvl1pPr>
          </a:lstStyle>
          <a:p>
            <a:pPr lvl="0"/>
            <a:r>
              <a:rPr lang="sv-SE" dirty="0"/>
              <a:t>Klicka här för att lägg till en </a:t>
            </a:r>
            <a:r>
              <a:rPr lang="sv-SE" dirty="0" err="1"/>
              <a:t>helsidebild</a:t>
            </a:r>
            <a:endParaRPr lang="sv-SE" dirty="0"/>
          </a:p>
        </p:txBody>
      </p:sp>
      <p:sp>
        <p:nvSpPr>
          <p:cNvPr id="3" name="Rubrik 1"/>
          <p:cNvSpPr>
            <a:spLocks noGrp="1"/>
          </p:cNvSpPr>
          <p:nvPr>
            <p:ph type="ctrTitle" hasCustomPrompt="1"/>
          </p:nvPr>
        </p:nvSpPr>
        <p:spPr>
          <a:xfrm>
            <a:off x="685800" y="1597820"/>
            <a:ext cx="7772400" cy="1102519"/>
          </a:xfrm>
        </p:spPr>
        <p:txBody>
          <a:bodyPr/>
          <a:lstStyle>
            <a:lvl1pPr>
              <a:defRPr baseline="0"/>
            </a:lvl1pPr>
          </a:lstStyle>
          <a:p>
            <a:r>
              <a:rPr lang="sv-SE" dirty="0"/>
              <a:t>Klicka här för att fylla i rubrik ovanpå bild</a:t>
            </a:r>
          </a:p>
        </p:txBody>
      </p:sp>
    </p:spTree>
    <p:extLst>
      <p:ext uri="{BB962C8B-B14F-4D97-AF65-F5344CB8AC3E}">
        <p14:creationId xmlns:p14="http://schemas.microsoft.com/office/powerpoint/2010/main" val="38188859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nehåll, tre delar">
    <p:bg>
      <p:bgPr>
        <a:solidFill>
          <a:schemeClr val="bg1"/>
        </a:solidFill>
        <a:effectLst/>
      </p:bgPr>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6F2706FC-BC58-4896-B7C3-C5517CE50790}"/>
              </a:ext>
              <a:ext uri="{C183D7F6-B498-43B3-948B-1728B52AA6E4}">
                <adec:decorative xmlns:adec="http://schemas.microsoft.com/office/drawing/2017/decorative" val="1"/>
              </a:ext>
            </a:extLst>
          </p:cNvPr>
          <p:cNvSpPr/>
          <p:nvPr userDrawn="1"/>
        </p:nvSpPr>
        <p:spPr>
          <a:xfrm>
            <a:off x="134824" y="1219199"/>
            <a:ext cx="2867400" cy="3318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12" name="Rektangel 11">
            <a:extLst>
              <a:ext uri="{FF2B5EF4-FFF2-40B4-BE49-F238E27FC236}">
                <a16:creationId xmlns:a16="http://schemas.microsoft.com/office/drawing/2014/main" id="{0C60FFDE-A795-44FD-A769-66352A9DF470}"/>
              </a:ext>
              <a:ext uri="{C183D7F6-B498-43B3-948B-1728B52AA6E4}">
                <adec:decorative xmlns:adec="http://schemas.microsoft.com/office/drawing/2017/decorative" val="1"/>
              </a:ext>
            </a:extLst>
          </p:cNvPr>
          <p:cNvSpPr/>
          <p:nvPr userDrawn="1"/>
        </p:nvSpPr>
        <p:spPr>
          <a:xfrm>
            <a:off x="3138300" y="1219199"/>
            <a:ext cx="2867400" cy="3318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17" name="Rektangel 16">
            <a:extLst>
              <a:ext uri="{FF2B5EF4-FFF2-40B4-BE49-F238E27FC236}">
                <a16:creationId xmlns:a16="http://schemas.microsoft.com/office/drawing/2014/main" id="{9448848C-A6F8-4EC3-8762-6984ABE2ED1C}"/>
              </a:ext>
              <a:ext uri="{C183D7F6-B498-43B3-948B-1728B52AA6E4}">
                <adec:decorative xmlns:adec="http://schemas.microsoft.com/office/drawing/2017/decorative" val="1"/>
              </a:ext>
            </a:extLst>
          </p:cNvPr>
          <p:cNvSpPr/>
          <p:nvPr userDrawn="1"/>
        </p:nvSpPr>
        <p:spPr>
          <a:xfrm>
            <a:off x="6142500" y="1219199"/>
            <a:ext cx="2867400" cy="33183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2" name="Rubrik 1">
            <a:extLst>
              <a:ext uri="{FF2B5EF4-FFF2-40B4-BE49-F238E27FC236}">
                <a16:creationId xmlns:a16="http://schemas.microsoft.com/office/drawing/2014/main" id="{61A5529F-59CA-47AD-9F2E-580F8914CE62}"/>
              </a:ext>
            </a:extLst>
          </p:cNvPr>
          <p:cNvSpPr>
            <a:spLocks noGrp="1"/>
          </p:cNvSpPr>
          <p:nvPr>
            <p:ph type="title"/>
          </p:nvPr>
        </p:nvSpPr>
        <p:spPr>
          <a:xfrm>
            <a:off x="405000" y="276225"/>
            <a:ext cx="7210238" cy="712408"/>
          </a:xfrm>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9B45E356-4410-4C0C-A019-77B8B12A3CE5}"/>
              </a:ext>
            </a:extLst>
          </p:cNvPr>
          <p:cNvSpPr>
            <a:spLocks noGrp="1"/>
          </p:cNvSpPr>
          <p:nvPr>
            <p:ph sz="half" idx="1"/>
          </p:nvPr>
        </p:nvSpPr>
        <p:spPr>
          <a:xfrm>
            <a:off x="326524" y="1408199"/>
            <a:ext cx="2484000" cy="29403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a:extLst>
              <a:ext uri="{FF2B5EF4-FFF2-40B4-BE49-F238E27FC236}">
                <a16:creationId xmlns:a16="http://schemas.microsoft.com/office/drawing/2014/main" id="{4747D080-8E2C-49CA-B749-61DD24CC21C8}"/>
              </a:ext>
            </a:extLst>
          </p:cNvPr>
          <p:cNvSpPr>
            <a:spLocks noGrp="1"/>
          </p:cNvSpPr>
          <p:nvPr>
            <p:ph sz="half" idx="2"/>
          </p:nvPr>
        </p:nvSpPr>
        <p:spPr>
          <a:xfrm>
            <a:off x="3330000" y="1408199"/>
            <a:ext cx="2484000" cy="29403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10" name="Platshållare för innehåll 9">
            <a:extLst>
              <a:ext uri="{FF2B5EF4-FFF2-40B4-BE49-F238E27FC236}">
                <a16:creationId xmlns:a16="http://schemas.microsoft.com/office/drawing/2014/main" id="{D5EB4125-C3AC-47D1-8DE5-08C035AB3F63}"/>
              </a:ext>
            </a:extLst>
          </p:cNvPr>
          <p:cNvSpPr>
            <a:spLocks noGrp="1"/>
          </p:cNvSpPr>
          <p:nvPr>
            <p:ph sz="quarter" idx="13"/>
          </p:nvPr>
        </p:nvSpPr>
        <p:spPr>
          <a:xfrm>
            <a:off x="6334200" y="1408199"/>
            <a:ext cx="2484000" cy="29403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bildnummer 6">
            <a:extLst>
              <a:ext uri="{FF2B5EF4-FFF2-40B4-BE49-F238E27FC236}">
                <a16:creationId xmlns:a16="http://schemas.microsoft.com/office/drawing/2014/main" id="{85C4A553-AD9D-4197-A713-E1B8FD3A3BC0}"/>
              </a:ext>
            </a:extLst>
          </p:cNvPr>
          <p:cNvSpPr>
            <a:spLocks noGrp="1"/>
          </p:cNvSpPr>
          <p:nvPr>
            <p:ph type="sldNum" sz="quarter" idx="12"/>
          </p:nvPr>
        </p:nvSpPr>
        <p:spPr/>
        <p:txBody>
          <a:bodyPr/>
          <a:lstStyle/>
          <a:p>
            <a:fld id="{5204B58B-0420-4827-A2A8-7A3D043AFDDE}" type="slidenum">
              <a:rPr lang="sv-SE" smtClean="0"/>
              <a:t>‹#›</a:t>
            </a:fld>
            <a:endParaRPr lang="sv-SE" dirty="0"/>
          </a:p>
        </p:txBody>
      </p:sp>
    </p:spTree>
    <p:extLst>
      <p:ext uri="{BB962C8B-B14F-4D97-AF65-F5344CB8AC3E}">
        <p14:creationId xmlns:p14="http://schemas.microsoft.com/office/powerpoint/2010/main" val="1661280170"/>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 höger">
    <p:bg>
      <p:bgPr>
        <a:solidFill>
          <a:schemeClr val="accent2"/>
        </a:solidFill>
        <a:effectLst/>
      </p:bgPr>
    </p:bg>
    <p:spTree>
      <p:nvGrpSpPr>
        <p:cNvPr id="1" name=""/>
        <p:cNvGrpSpPr/>
        <p:nvPr/>
      </p:nvGrpSpPr>
      <p:grpSpPr>
        <a:xfrm>
          <a:off x="0" y="0"/>
          <a:ext cx="0" cy="0"/>
          <a:chOff x="0" y="0"/>
          <a:chExt cx="0" cy="0"/>
        </a:xfrm>
      </p:grpSpPr>
      <p:sp>
        <p:nvSpPr>
          <p:cNvPr id="17" name="Platshållare för bild 16">
            <a:extLst>
              <a:ext uri="{FF2B5EF4-FFF2-40B4-BE49-F238E27FC236}">
                <a16:creationId xmlns:a16="http://schemas.microsoft.com/office/drawing/2014/main" id="{D4976B72-E8DF-4CE5-BA89-B6D8D5DCC412}"/>
              </a:ext>
              <a:ext uri="{C183D7F6-B498-43B3-948B-1728B52AA6E4}">
                <adec:decorative xmlns:adec="http://schemas.microsoft.com/office/drawing/2017/decorative" val="1"/>
              </a:ext>
            </a:extLst>
          </p:cNvPr>
          <p:cNvSpPr>
            <a:spLocks noGrp="1"/>
          </p:cNvSpPr>
          <p:nvPr>
            <p:ph type="pic" sz="quarter" idx="13" hasCustomPrompt="1"/>
          </p:nvPr>
        </p:nvSpPr>
        <p:spPr>
          <a:xfrm>
            <a:off x="4605750" y="134880"/>
            <a:ext cx="4403250" cy="4403701"/>
          </a:xfrm>
          <a:solidFill>
            <a:schemeClr val="bg1"/>
          </a:solidFill>
        </p:spPr>
        <p:txBody>
          <a:bodyPr anchor="ctr" anchorCtr="0"/>
          <a:lstStyle>
            <a:lvl1pPr marL="0" indent="0" algn="ctr">
              <a:buNone/>
              <a:defRPr/>
            </a:lvl1pPr>
          </a:lstStyle>
          <a:p>
            <a:pPr marL="0" marR="0" lvl="0" indent="0" algn="ctr" defTabSz="685800" rtl="0" eaLnBrk="1" fontAlgn="auto" latinLnBrk="0" hangingPunct="1">
              <a:lnSpc>
                <a:spcPct val="90000"/>
              </a:lnSpc>
              <a:spcBef>
                <a:spcPts val="1350"/>
              </a:spcBef>
              <a:spcAft>
                <a:spcPts val="0"/>
              </a:spcAft>
              <a:buClrTx/>
              <a:buSzTx/>
              <a:buFont typeface="Arial" panose="020B0604020202020204" pitchFamily="34" charset="0"/>
              <a:buNone/>
              <a:tabLst/>
              <a:defRPr/>
            </a:pPr>
            <a:r>
              <a:rPr lang="sv-SE" dirty="0"/>
              <a:t>Markera bildplatshållaren och infoga önskad bild</a:t>
            </a:r>
          </a:p>
        </p:txBody>
      </p:sp>
      <p:sp>
        <p:nvSpPr>
          <p:cNvPr id="9" name="Rektangel 8">
            <a:extLst>
              <a:ext uri="{FF2B5EF4-FFF2-40B4-BE49-F238E27FC236}">
                <a16:creationId xmlns:a16="http://schemas.microsoft.com/office/drawing/2014/main" id="{6F2706FC-BC58-4896-B7C3-C5517CE50790}"/>
              </a:ext>
              <a:ext uri="{C183D7F6-B498-43B3-948B-1728B52AA6E4}">
                <adec:decorative xmlns:adec="http://schemas.microsoft.com/office/drawing/2017/decorative" val="1"/>
              </a:ext>
            </a:extLst>
          </p:cNvPr>
          <p:cNvSpPr/>
          <p:nvPr userDrawn="1"/>
        </p:nvSpPr>
        <p:spPr>
          <a:xfrm>
            <a:off x="135000" y="135000"/>
            <a:ext cx="4403250" cy="4403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2" name="Rubrik 1">
            <a:extLst>
              <a:ext uri="{FF2B5EF4-FFF2-40B4-BE49-F238E27FC236}">
                <a16:creationId xmlns:a16="http://schemas.microsoft.com/office/drawing/2014/main" id="{61A5529F-59CA-47AD-9F2E-580F8914CE62}"/>
              </a:ext>
            </a:extLst>
          </p:cNvPr>
          <p:cNvSpPr>
            <a:spLocks noGrp="1"/>
          </p:cNvSpPr>
          <p:nvPr>
            <p:ph type="title"/>
          </p:nvPr>
        </p:nvSpPr>
        <p:spPr>
          <a:xfrm>
            <a:off x="404999" y="276225"/>
            <a:ext cx="3863700" cy="712408"/>
          </a:xfrm>
        </p:spPr>
        <p:txBody>
          <a:bodyPr/>
          <a:lstStyle/>
          <a:p>
            <a:r>
              <a:rPr lang="sv-SE"/>
              <a:t>Klicka här för att ändra mall för rubrikformat</a:t>
            </a:r>
            <a:endParaRPr lang="sv-SE" dirty="0"/>
          </a:p>
        </p:txBody>
      </p:sp>
      <p:sp>
        <p:nvSpPr>
          <p:cNvPr id="3" name="Platshållare för innehåll 2">
            <a:extLst>
              <a:ext uri="{FF2B5EF4-FFF2-40B4-BE49-F238E27FC236}">
                <a16:creationId xmlns:a16="http://schemas.microsoft.com/office/drawing/2014/main" id="{9B45E356-4410-4C0C-A019-77B8B12A3CE5}"/>
              </a:ext>
            </a:extLst>
          </p:cNvPr>
          <p:cNvSpPr>
            <a:spLocks noGrp="1"/>
          </p:cNvSpPr>
          <p:nvPr>
            <p:ph sz="half" idx="1"/>
          </p:nvPr>
        </p:nvSpPr>
        <p:spPr>
          <a:xfrm>
            <a:off x="404999" y="1354199"/>
            <a:ext cx="3863700" cy="30456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bildnummer 6">
            <a:extLst>
              <a:ext uri="{FF2B5EF4-FFF2-40B4-BE49-F238E27FC236}">
                <a16:creationId xmlns:a16="http://schemas.microsoft.com/office/drawing/2014/main" id="{85C4A553-AD9D-4197-A713-E1B8FD3A3BC0}"/>
              </a:ext>
            </a:extLst>
          </p:cNvPr>
          <p:cNvSpPr>
            <a:spLocks noGrp="1"/>
          </p:cNvSpPr>
          <p:nvPr>
            <p:ph type="sldNum" sz="quarter" idx="12"/>
          </p:nvPr>
        </p:nvSpPr>
        <p:spPr/>
        <p:txBody>
          <a:bodyPr/>
          <a:lstStyle/>
          <a:p>
            <a:fld id="{5204B58B-0420-4827-A2A8-7A3D043AFDDE}" type="slidenum">
              <a:rPr lang="sv-SE" smtClean="0"/>
              <a:t>‹#›</a:t>
            </a:fld>
            <a:endParaRPr lang="sv-SE" dirty="0"/>
          </a:p>
        </p:txBody>
      </p:sp>
    </p:spTree>
    <p:extLst>
      <p:ext uri="{BB962C8B-B14F-4D97-AF65-F5344CB8AC3E}">
        <p14:creationId xmlns:p14="http://schemas.microsoft.com/office/powerpoint/2010/main" val="1049296496"/>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vå bilder vänster">
    <p:bg>
      <p:bgPr>
        <a:solidFill>
          <a:schemeClr val="bg1"/>
        </a:solid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22B4D884-57AC-41A5-93B4-E21289DCD319}"/>
              </a:ext>
              <a:ext uri="{C183D7F6-B498-43B3-948B-1728B52AA6E4}">
                <adec:decorative xmlns:adec="http://schemas.microsoft.com/office/drawing/2017/decorative" val="1"/>
              </a:ext>
            </a:extLst>
          </p:cNvPr>
          <p:cNvSpPr/>
          <p:nvPr userDrawn="1"/>
        </p:nvSpPr>
        <p:spPr>
          <a:xfrm>
            <a:off x="0" y="0"/>
            <a:ext cx="32766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2" name="Rubrik 1">
            <a:extLst>
              <a:ext uri="{FF2B5EF4-FFF2-40B4-BE49-F238E27FC236}">
                <a16:creationId xmlns:a16="http://schemas.microsoft.com/office/drawing/2014/main" id="{61A5529F-59CA-47AD-9F2E-580F8914CE62}"/>
              </a:ext>
            </a:extLst>
          </p:cNvPr>
          <p:cNvSpPr>
            <a:spLocks noGrp="1"/>
          </p:cNvSpPr>
          <p:nvPr>
            <p:ph type="title"/>
          </p:nvPr>
        </p:nvSpPr>
        <p:spPr>
          <a:xfrm>
            <a:off x="4876215" y="276225"/>
            <a:ext cx="3863700" cy="712408"/>
          </a:xfrm>
        </p:spPr>
        <p:txBody>
          <a:bodyPr/>
          <a:lstStyle/>
          <a:p>
            <a:r>
              <a:rPr lang="sv-SE"/>
              <a:t>Klicka här för att ändra mall för rubrikformat</a:t>
            </a:r>
            <a:endParaRPr lang="sv-SE" dirty="0"/>
          </a:p>
        </p:txBody>
      </p:sp>
      <p:sp>
        <p:nvSpPr>
          <p:cNvPr id="4" name="Platshållare för innehåll 3">
            <a:extLst>
              <a:ext uri="{FF2B5EF4-FFF2-40B4-BE49-F238E27FC236}">
                <a16:creationId xmlns:a16="http://schemas.microsoft.com/office/drawing/2014/main" id="{4747D080-8E2C-49CA-B749-61DD24CC21C8}"/>
              </a:ext>
            </a:extLst>
          </p:cNvPr>
          <p:cNvSpPr>
            <a:spLocks noGrp="1"/>
          </p:cNvSpPr>
          <p:nvPr>
            <p:ph sz="half" idx="2"/>
          </p:nvPr>
        </p:nvSpPr>
        <p:spPr>
          <a:xfrm>
            <a:off x="4876214" y="1354199"/>
            <a:ext cx="3863700" cy="30456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bildnummer 6">
            <a:extLst>
              <a:ext uri="{FF2B5EF4-FFF2-40B4-BE49-F238E27FC236}">
                <a16:creationId xmlns:a16="http://schemas.microsoft.com/office/drawing/2014/main" id="{85C4A553-AD9D-4197-A713-E1B8FD3A3BC0}"/>
              </a:ext>
            </a:extLst>
          </p:cNvPr>
          <p:cNvSpPr>
            <a:spLocks noGrp="1"/>
          </p:cNvSpPr>
          <p:nvPr>
            <p:ph type="sldNum" sz="quarter" idx="12"/>
          </p:nvPr>
        </p:nvSpPr>
        <p:spPr/>
        <p:txBody>
          <a:bodyPr/>
          <a:lstStyle>
            <a:lvl1pPr>
              <a:defRPr>
                <a:solidFill>
                  <a:schemeClr val="bg1"/>
                </a:solidFill>
              </a:defRPr>
            </a:lvl1pPr>
          </a:lstStyle>
          <a:p>
            <a:fld id="{5204B58B-0420-4827-A2A8-7A3D043AFDDE}" type="slidenum">
              <a:rPr lang="sv-SE" smtClean="0"/>
              <a:pPr/>
              <a:t>‹#›</a:t>
            </a:fld>
            <a:endParaRPr lang="sv-SE" dirty="0"/>
          </a:p>
        </p:txBody>
      </p:sp>
      <p:sp>
        <p:nvSpPr>
          <p:cNvPr id="17" name="Platshållare för bild 16">
            <a:extLst>
              <a:ext uri="{FF2B5EF4-FFF2-40B4-BE49-F238E27FC236}">
                <a16:creationId xmlns:a16="http://schemas.microsoft.com/office/drawing/2014/main" id="{48C5DE82-A350-4351-84F6-351AF6FB41FC}"/>
              </a:ext>
              <a:ext uri="{C183D7F6-B498-43B3-948B-1728B52AA6E4}">
                <adec:decorative xmlns:adec="http://schemas.microsoft.com/office/drawing/2017/decorative" val="1"/>
              </a:ext>
            </a:extLst>
          </p:cNvPr>
          <p:cNvSpPr>
            <a:spLocks noGrp="1"/>
          </p:cNvSpPr>
          <p:nvPr>
            <p:ph type="pic" sz="quarter" idx="13" hasCustomPrompt="1"/>
          </p:nvPr>
        </p:nvSpPr>
        <p:spPr>
          <a:xfrm>
            <a:off x="134541" y="134542"/>
            <a:ext cx="4340731" cy="2134520"/>
          </a:xfrm>
          <a:solidFill>
            <a:schemeClr val="bg1"/>
          </a:solidFill>
        </p:spPr>
        <p:txBody>
          <a:bodyPr anchor="ctr" anchorCtr="0"/>
          <a:lstStyle>
            <a:lvl1pPr marL="0" indent="0" algn="ctr">
              <a:buNone/>
              <a:defRPr sz="1200"/>
            </a:lvl1pPr>
          </a:lstStyle>
          <a:p>
            <a:pPr marL="0" marR="0" lvl="0" indent="0" algn="ctr" defTabSz="685800" rtl="0" eaLnBrk="1" fontAlgn="auto" latinLnBrk="0" hangingPunct="1">
              <a:lnSpc>
                <a:spcPct val="90000"/>
              </a:lnSpc>
              <a:spcBef>
                <a:spcPts val="1350"/>
              </a:spcBef>
              <a:spcAft>
                <a:spcPts val="0"/>
              </a:spcAft>
              <a:buClrTx/>
              <a:buSzTx/>
              <a:buFont typeface="Arial" panose="020B0604020202020204" pitchFamily="34" charset="0"/>
              <a:buNone/>
              <a:tabLst/>
              <a:defRPr/>
            </a:pPr>
            <a:r>
              <a:rPr lang="sv-SE" dirty="0"/>
              <a:t>Markera bildplatshållaren och infoga önskad bild</a:t>
            </a:r>
          </a:p>
        </p:txBody>
      </p:sp>
      <p:sp>
        <p:nvSpPr>
          <p:cNvPr id="18" name="Platshållare för bild 16">
            <a:extLst>
              <a:ext uri="{FF2B5EF4-FFF2-40B4-BE49-F238E27FC236}">
                <a16:creationId xmlns:a16="http://schemas.microsoft.com/office/drawing/2014/main" id="{1770619A-9F5E-4977-B549-010A443C8FC4}"/>
              </a:ext>
              <a:ext uri="{C183D7F6-B498-43B3-948B-1728B52AA6E4}">
                <adec:decorative xmlns:adec="http://schemas.microsoft.com/office/drawing/2017/decorative" val="1"/>
              </a:ext>
            </a:extLst>
          </p:cNvPr>
          <p:cNvSpPr>
            <a:spLocks noGrp="1"/>
          </p:cNvSpPr>
          <p:nvPr>
            <p:ph type="pic" sz="quarter" idx="14" hasCustomPrompt="1"/>
          </p:nvPr>
        </p:nvSpPr>
        <p:spPr>
          <a:xfrm>
            <a:off x="134540" y="2403603"/>
            <a:ext cx="4340730" cy="2134521"/>
          </a:xfrm>
          <a:solidFill>
            <a:schemeClr val="bg1"/>
          </a:solidFill>
        </p:spPr>
        <p:txBody>
          <a:bodyPr anchor="ctr" anchorCtr="0"/>
          <a:lstStyle>
            <a:lvl1pPr marL="0" indent="0" algn="ctr">
              <a:buNone/>
              <a:defRPr sz="1200"/>
            </a:lvl1pPr>
          </a:lstStyle>
          <a:p>
            <a:pPr marL="0" marR="0" lvl="0" indent="0" algn="ctr" defTabSz="685800" rtl="0" eaLnBrk="1" fontAlgn="auto" latinLnBrk="0" hangingPunct="1">
              <a:lnSpc>
                <a:spcPct val="90000"/>
              </a:lnSpc>
              <a:spcBef>
                <a:spcPts val="1350"/>
              </a:spcBef>
              <a:spcAft>
                <a:spcPts val="0"/>
              </a:spcAft>
              <a:buClrTx/>
              <a:buSzTx/>
              <a:buFont typeface="Arial" panose="020B0604020202020204" pitchFamily="34" charset="0"/>
              <a:buNone/>
              <a:tabLst/>
              <a:defRPr/>
            </a:pPr>
            <a:r>
              <a:rPr lang="sv-SE" dirty="0"/>
              <a:t>Markera bildplatshållaren och infoga önskad bild</a:t>
            </a:r>
          </a:p>
        </p:txBody>
      </p:sp>
    </p:spTree>
    <p:extLst>
      <p:ext uri="{BB962C8B-B14F-4D97-AF65-F5344CB8AC3E}">
        <p14:creationId xmlns:p14="http://schemas.microsoft.com/office/powerpoint/2010/main" val="183960894"/>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vå bilder">
    <p:bg>
      <p:bgPr>
        <a:solidFill>
          <a:schemeClr val="accent2"/>
        </a:solidFill>
        <a:effectLst/>
      </p:bgPr>
    </p:bg>
    <p:spTree>
      <p:nvGrpSpPr>
        <p:cNvPr id="1" name=""/>
        <p:cNvGrpSpPr/>
        <p:nvPr/>
      </p:nvGrpSpPr>
      <p:grpSpPr>
        <a:xfrm>
          <a:off x="0" y="0"/>
          <a:ext cx="0" cy="0"/>
          <a:chOff x="0" y="0"/>
          <a:chExt cx="0" cy="0"/>
        </a:xfrm>
      </p:grpSpPr>
      <p:sp>
        <p:nvSpPr>
          <p:cNvPr id="18" name="Platshållare för bild 16">
            <a:extLst>
              <a:ext uri="{FF2B5EF4-FFF2-40B4-BE49-F238E27FC236}">
                <a16:creationId xmlns:a16="http://schemas.microsoft.com/office/drawing/2014/main" id="{1770619A-9F5E-4977-B549-010A443C8FC4}"/>
              </a:ext>
              <a:ext uri="{C183D7F6-B498-43B3-948B-1728B52AA6E4}">
                <adec:decorative xmlns:adec="http://schemas.microsoft.com/office/drawing/2017/decorative" val="1"/>
              </a:ext>
            </a:extLst>
          </p:cNvPr>
          <p:cNvSpPr>
            <a:spLocks noGrp="1"/>
          </p:cNvSpPr>
          <p:nvPr>
            <p:ph type="pic" sz="quarter" idx="14" hasCustomPrompt="1"/>
          </p:nvPr>
        </p:nvSpPr>
        <p:spPr>
          <a:xfrm>
            <a:off x="4603533" y="134541"/>
            <a:ext cx="4403709" cy="4404040"/>
          </a:xfrm>
          <a:solidFill>
            <a:schemeClr val="bg1"/>
          </a:solidFill>
        </p:spPr>
        <p:txBody>
          <a:bodyPr anchor="ctr" anchorCtr="0"/>
          <a:lstStyle>
            <a:lvl1pPr marL="0" indent="0" algn="ctr">
              <a:buNone/>
              <a:defRPr sz="1200"/>
            </a:lvl1pPr>
          </a:lstStyle>
          <a:p>
            <a:pPr marL="0" marR="0" lvl="0" indent="0" algn="ctr" defTabSz="685800" rtl="0" eaLnBrk="1" fontAlgn="auto" latinLnBrk="0" hangingPunct="1">
              <a:lnSpc>
                <a:spcPct val="90000"/>
              </a:lnSpc>
              <a:spcBef>
                <a:spcPts val="1350"/>
              </a:spcBef>
              <a:spcAft>
                <a:spcPts val="0"/>
              </a:spcAft>
              <a:buClrTx/>
              <a:buSzTx/>
              <a:buFont typeface="Arial" panose="020B0604020202020204" pitchFamily="34" charset="0"/>
              <a:buNone/>
              <a:tabLst/>
              <a:defRPr/>
            </a:pPr>
            <a:r>
              <a:rPr lang="sv-SE" dirty="0"/>
              <a:t>Markera bildplatshållaren och infoga önskad bild</a:t>
            </a:r>
          </a:p>
        </p:txBody>
      </p:sp>
      <p:sp>
        <p:nvSpPr>
          <p:cNvPr id="7" name="Platshållare för bildnummer 6">
            <a:extLst>
              <a:ext uri="{FF2B5EF4-FFF2-40B4-BE49-F238E27FC236}">
                <a16:creationId xmlns:a16="http://schemas.microsoft.com/office/drawing/2014/main" id="{85C4A553-AD9D-4197-A713-E1B8FD3A3BC0}"/>
              </a:ext>
            </a:extLst>
          </p:cNvPr>
          <p:cNvSpPr>
            <a:spLocks noGrp="1"/>
          </p:cNvSpPr>
          <p:nvPr>
            <p:ph type="sldNum" sz="quarter" idx="12"/>
          </p:nvPr>
        </p:nvSpPr>
        <p:spPr/>
        <p:txBody>
          <a:bodyPr/>
          <a:lstStyle/>
          <a:p>
            <a:fld id="{5204B58B-0420-4827-A2A8-7A3D043AFDDE}" type="slidenum">
              <a:rPr lang="sv-SE" smtClean="0"/>
              <a:t>‹#›</a:t>
            </a:fld>
            <a:endParaRPr lang="sv-SE" dirty="0"/>
          </a:p>
        </p:txBody>
      </p:sp>
      <p:sp>
        <p:nvSpPr>
          <p:cNvPr id="17" name="Platshållare för bild 16">
            <a:extLst>
              <a:ext uri="{FF2B5EF4-FFF2-40B4-BE49-F238E27FC236}">
                <a16:creationId xmlns:a16="http://schemas.microsoft.com/office/drawing/2014/main" id="{48C5DE82-A350-4351-84F6-351AF6FB41FC}"/>
              </a:ext>
              <a:ext uri="{C183D7F6-B498-43B3-948B-1728B52AA6E4}">
                <adec:decorative xmlns:adec="http://schemas.microsoft.com/office/drawing/2017/decorative" val="1"/>
              </a:ext>
            </a:extLst>
          </p:cNvPr>
          <p:cNvSpPr>
            <a:spLocks noGrp="1"/>
          </p:cNvSpPr>
          <p:nvPr>
            <p:ph type="pic" sz="quarter" idx="13" hasCustomPrompt="1"/>
          </p:nvPr>
        </p:nvSpPr>
        <p:spPr>
          <a:xfrm>
            <a:off x="134541" y="134541"/>
            <a:ext cx="4403709" cy="4404040"/>
          </a:xfrm>
          <a:solidFill>
            <a:schemeClr val="bg1"/>
          </a:solidFill>
        </p:spPr>
        <p:txBody>
          <a:bodyPr anchor="ctr" anchorCtr="0"/>
          <a:lstStyle>
            <a:lvl1pPr marL="0" indent="0" algn="ctr">
              <a:buNone/>
              <a:defRPr sz="1200"/>
            </a:lvl1pPr>
          </a:lstStyle>
          <a:p>
            <a:pPr marL="0" marR="0" lvl="0" indent="0" algn="ctr" defTabSz="685800" rtl="0" eaLnBrk="1" fontAlgn="auto" latinLnBrk="0" hangingPunct="1">
              <a:lnSpc>
                <a:spcPct val="90000"/>
              </a:lnSpc>
              <a:spcBef>
                <a:spcPts val="1350"/>
              </a:spcBef>
              <a:spcAft>
                <a:spcPts val="0"/>
              </a:spcAft>
              <a:buClrTx/>
              <a:buSzTx/>
              <a:buFont typeface="Arial" panose="020B0604020202020204" pitchFamily="34" charset="0"/>
              <a:buNone/>
              <a:tabLst/>
              <a:defRPr/>
            </a:pPr>
            <a:r>
              <a:rPr lang="sv-SE" dirty="0"/>
              <a:t>Markera bildplatshållaren och infoga önskad bild</a:t>
            </a:r>
          </a:p>
        </p:txBody>
      </p:sp>
    </p:spTree>
    <p:extLst>
      <p:ext uri="{BB962C8B-B14F-4D97-AF65-F5344CB8AC3E}">
        <p14:creationId xmlns:p14="http://schemas.microsoft.com/office/powerpoint/2010/main" val="2748645763"/>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re bilder">
    <p:bg>
      <p:bgPr>
        <a:solidFill>
          <a:schemeClr val="accent2"/>
        </a:solidFill>
        <a:effectLst/>
      </p:bgPr>
    </p:bg>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527B897B-5996-4908-A7A9-75583FFA4468}"/>
              </a:ext>
              <a:ext uri="{C183D7F6-B498-43B3-948B-1728B52AA6E4}">
                <adec:decorative xmlns:adec="http://schemas.microsoft.com/office/drawing/2017/decorative" val="1"/>
              </a:ext>
            </a:extLst>
          </p:cNvPr>
          <p:cNvSpPr/>
          <p:nvPr userDrawn="1"/>
        </p:nvSpPr>
        <p:spPr>
          <a:xfrm>
            <a:off x="4605291" y="135000"/>
            <a:ext cx="4403709" cy="44035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2" name="Rubrik 1">
            <a:extLst>
              <a:ext uri="{FF2B5EF4-FFF2-40B4-BE49-F238E27FC236}">
                <a16:creationId xmlns:a16="http://schemas.microsoft.com/office/drawing/2014/main" id="{61A5529F-59CA-47AD-9F2E-580F8914CE62}"/>
              </a:ext>
            </a:extLst>
          </p:cNvPr>
          <p:cNvSpPr>
            <a:spLocks noGrp="1"/>
          </p:cNvSpPr>
          <p:nvPr>
            <p:ph type="title"/>
          </p:nvPr>
        </p:nvSpPr>
        <p:spPr>
          <a:xfrm>
            <a:off x="4875979" y="276225"/>
            <a:ext cx="3863700" cy="712408"/>
          </a:xfrm>
        </p:spPr>
        <p:txBody>
          <a:bodyPr/>
          <a:lstStyle/>
          <a:p>
            <a:r>
              <a:rPr lang="sv-SE"/>
              <a:t>Klicka här för att ändra mall för rubrikformat</a:t>
            </a:r>
            <a:endParaRPr lang="sv-SE" dirty="0"/>
          </a:p>
        </p:txBody>
      </p:sp>
      <p:sp>
        <p:nvSpPr>
          <p:cNvPr id="4" name="Platshållare för innehåll 3">
            <a:extLst>
              <a:ext uri="{FF2B5EF4-FFF2-40B4-BE49-F238E27FC236}">
                <a16:creationId xmlns:a16="http://schemas.microsoft.com/office/drawing/2014/main" id="{4747D080-8E2C-49CA-B749-61DD24CC21C8}"/>
              </a:ext>
            </a:extLst>
          </p:cNvPr>
          <p:cNvSpPr>
            <a:spLocks noGrp="1"/>
          </p:cNvSpPr>
          <p:nvPr>
            <p:ph sz="half" idx="2"/>
          </p:nvPr>
        </p:nvSpPr>
        <p:spPr>
          <a:xfrm>
            <a:off x="4875980" y="1354200"/>
            <a:ext cx="3863700" cy="30456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bildnummer 6">
            <a:extLst>
              <a:ext uri="{FF2B5EF4-FFF2-40B4-BE49-F238E27FC236}">
                <a16:creationId xmlns:a16="http://schemas.microsoft.com/office/drawing/2014/main" id="{85C4A553-AD9D-4197-A713-E1B8FD3A3BC0}"/>
              </a:ext>
            </a:extLst>
          </p:cNvPr>
          <p:cNvSpPr>
            <a:spLocks noGrp="1"/>
          </p:cNvSpPr>
          <p:nvPr>
            <p:ph type="sldNum" sz="quarter" idx="12"/>
          </p:nvPr>
        </p:nvSpPr>
        <p:spPr/>
        <p:txBody>
          <a:bodyPr/>
          <a:lstStyle/>
          <a:p>
            <a:fld id="{5204B58B-0420-4827-A2A8-7A3D043AFDDE}" type="slidenum">
              <a:rPr lang="sv-SE" smtClean="0"/>
              <a:t>‹#›</a:t>
            </a:fld>
            <a:endParaRPr lang="sv-SE" dirty="0"/>
          </a:p>
        </p:txBody>
      </p:sp>
      <p:sp>
        <p:nvSpPr>
          <p:cNvPr id="17" name="Platshållare för bild 16">
            <a:extLst>
              <a:ext uri="{FF2B5EF4-FFF2-40B4-BE49-F238E27FC236}">
                <a16:creationId xmlns:a16="http://schemas.microsoft.com/office/drawing/2014/main" id="{48C5DE82-A350-4351-84F6-351AF6FB41FC}"/>
              </a:ext>
              <a:ext uri="{C183D7F6-B498-43B3-948B-1728B52AA6E4}">
                <adec:decorative xmlns:adec="http://schemas.microsoft.com/office/drawing/2017/decorative" val="1"/>
              </a:ext>
            </a:extLst>
          </p:cNvPr>
          <p:cNvSpPr>
            <a:spLocks noGrp="1"/>
          </p:cNvSpPr>
          <p:nvPr>
            <p:ph type="pic" sz="quarter" idx="13" hasCustomPrompt="1"/>
          </p:nvPr>
        </p:nvSpPr>
        <p:spPr>
          <a:xfrm>
            <a:off x="134541" y="134541"/>
            <a:ext cx="4403709" cy="2365539"/>
          </a:xfrm>
          <a:solidFill>
            <a:schemeClr val="bg1"/>
          </a:solidFill>
        </p:spPr>
        <p:txBody>
          <a:bodyPr anchor="ctr" anchorCtr="0"/>
          <a:lstStyle>
            <a:lvl1pPr marL="0" indent="0" algn="ctr">
              <a:buNone/>
              <a:defRPr sz="1200"/>
            </a:lvl1pPr>
          </a:lstStyle>
          <a:p>
            <a:pPr marL="0" marR="0" lvl="0" indent="0" algn="ctr" defTabSz="685800" rtl="0" eaLnBrk="1" fontAlgn="auto" latinLnBrk="0" hangingPunct="1">
              <a:lnSpc>
                <a:spcPct val="90000"/>
              </a:lnSpc>
              <a:spcBef>
                <a:spcPts val="1350"/>
              </a:spcBef>
              <a:spcAft>
                <a:spcPts val="0"/>
              </a:spcAft>
              <a:buClrTx/>
              <a:buSzTx/>
              <a:buFont typeface="Arial" panose="020B0604020202020204" pitchFamily="34" charset="0"/>
              <a:buNone/>
              <a:tabLst/>
              <a:defRPr/>
            </a:pPr>
            <a:r>
              <a:rPr lang="sv-SE" dirty="0"/>
              <a:t>Markera bildplatshållaren och infoga önskad bild</a:t>
            </a:r>
          </a:p>
        </p:txBody>
      </p:sp>
      <p:sp>
        <p:nvSpPr>
          <p:cNvPr id="18" name="Platshållare för bild 16">
            <a:extLst>
              <a:ext uri="{FF2B5EF4-FFF2-40B4-BE49-F238E27FC236}">
                <a16:creationId xmlns:a16="http://schemas.microsoft.com/office/drawing/2014/main" id="{1770619A-9F5E-4977-B549-010A443C8FC4}"/>
              </a:ext>
              <a:ext uri="{C183D7F6-B498-43B3-948B-1728B52AA6E4}">
                <adec:decorative xmlns:adec="http://schemas.microsoft.com/office/drawing/2017/decorative" val="1"/>
              </a:ext>
            </a:extLst>
          </p:cNvPr>
          <p:cNvSpPr>
            <a:spLocks noGrp="1"/>
          </p:cNvSpPr>
          <p:nvPr>
            <p:ph type="pic" sz="quarter" idx="14" hasCustomPrompt="1"/>
          </p:nvPr>
        </p:nvSpPr>
        <p:spPr>
          <a:xfrm>
            <a:off x="134541" y="2567580"/>
            <a:ext cx="1971000" cy="1971000"/>
          </a:xfrm>
          <a:solidFill>
            <a:schemeClr val="bg1"/>
          </a:solidFill>
        </p:spPr>
        <p:txBody>
          <a:bodyPr anchor="ctr" anchorCtr="0"/>
          <a:lstStyle>
            <a:lvl1pPr marL="0" indent="0" algn="ctr">
              <a:buNone/>
              <a:defRPr sz="1200"/>
            </a:lvl1pPr>
          </a:lstStyle>
          <a:p>
            <a:pPr marL="0" marR="0" lvl="0" indent="0" algn="ctr" defTabSz="685800" rtl="0" eaLnBrk="1" fontAlgn="auto" latinLnBrk="0" hangingPunct="1">
              <a:lnSpc>
                <a:spcPct val="90000"/>
              </a:lnSpc>
              <a:spcBef>
                <a:spcPts val="1350"/>
              </a:spcBef>
              <a:spcAft>
                <a:spcPts val="0"/>
              </a:spcAft>
              <a:buClrTx/>
              <a:buSzTx/>
              <a:buFont typeface="Arial" panose="020B0604020202020204" pitchFamily="34" charset="0"/>
              <a:buNone/>
              <a:tabLst/>
              <a:defRPr/>
            </a:pPr>
            <a:r>
              <a:rPr lang="sv-SE" dirty="0"/>
              <a:t>Markera bildplatshållaren och infoga önskad bild</a:t>
            </a:r>
          </a:p>
        </p:txBody>
      </p:sp>
      <p:sp>
        <p:nvSpPr>
          <p:cNvPr id="19" name="Platshållare för bild 16">
            <a:extLst>
              <a:ext uri="{FF2B5EF4-FFF2-40B4-BE49-F238E27FC236}">
                <a16:creationId xmlns:a16="http://schemas.microsoft.com/office/drawing/2014/main" id="{D42024DF-84B7-44DE-995F-9E5E2F57F491}"/>
              </a:ext>
              <a:ext uri="{C183D7F6-B498-43B3-948B-1728B52AA6E4}">
                <adec:decorative xmlns:adec="http://schemas.microsoft.com/office/drawing/2017/decorative" val="1"/>
              </a:ext>
            </a:extLst>
          </p:cNvPr>
          <p:cNvSpPr>
            <a:spLocks noGrp="1"/>
          </p:cNvSpPr>
          <p:nvPr>
            <p:ph type="pic" sz="quarter" idx="15" hasCustomPrompt="1"/>
          </p:nvPr>
        </p:nvSpPr>
        <p:spPr>
          <a:xfrm>
            <a:off x="2181930" y="2567580"/>
            <a:ext cx="2356321" cy="1971000"/>
          </a:xfrm>
          <a:solidFill>
            <a:schemeClr val="bg1"/>
          </a:solidFill>
        </p:spPr>
        <p:txBody>
          <a:bodyPr anchor="ctr" anchorCtr="0"/>
          <a:lstStyle>
            <a:lvl1pPr marL="0" indent="0" algn="ctr">
              <a:buNone/>
              <a:defRPr sz="1200"/>
            </a:lvl1pPr>
          </a:lstStyle>
          <a:p>
            <a:pPr marL="0" marR="0" lvl="0" indent="0" algn="ctr" defTabSz="685800" rtl="0" eaLnBrk="1" fontAlgn="auto" latinLnBrk="0" hangingPunct="1">
              <a:lnSpc>
                <a:spcPct val="90000"/>
              </a:lnSpc>
              <a:spcBef>
                <a:spcPts val="1350"/>
              </a:spcBef>
              <a:spcAft>
                <a:spcPts val="0"/>
              </a:spcAft>
              <a:buClrTx/>
              <a:buSzTx/>
              <a:buFont typeface="Arial" panose="020B0604020202020204" pitchFamily="34" charset="0"/>
              <a:buNone/>
              <a:tabLst/>
              <a:defRPr/>
            </a:pPr>
            <a:r>
              <a:rPr lang="sv-SE" dirty="0"/>
              <a:t>Markera bildplatshållaren och infoga önskad bild</a:t>
            </a:r>
          </a:p>
        </p:txBody>
      </p:sp>
    </p:spTree>
    <p:extLst>
      <p:ext uri="{BB962C8B-B14F-4D97-AF65-F5344CB8AC3E}">
        <p14:creationId xmlns:p14="http://schemas.microsoft.com/office/powerpoint/2010/main" val="4130939248"/>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runda bilder">
    <p:bg>
      <p:bgPr>
        <a:solidFill>
          <a:schemeClr val="bg1"/>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C9EE3652-AEEE-4657-BB2E-3B8E00B65EA7}"/>
              </a:ext>
              <a:ext uri="{C183D7F6-B498-43B3-948B-1728B52AA6E4}">
                <adec:decorative xmlns:adec="http://schemas.microsoft.com/office/drawing/2017/decorative" val="1"/>
              </a:ext>
            </a:extLst>
          </p:cNvPr>
          <p:cNvSpPr/>
          <p:nvPr userDrawn="1"/>
        </p:nvSpPr>
        <p:spPr>
          <a:xfrm>
            <a:off x="0" y="1219200"/>
            <a:ext cx="9144000" cy="33223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2" name="Rubrik 1">
            <a:extLst>
              <a:ext uri="{FF2B5EF4-FFF2-40B4-BE49-F238E27FC236}">
                <a16:creationId xmlns:a16="http://schemas.microsoft.com/office/drawing/2014/main" id="{61A5529F-59CA-47AD-9F2E-580F8914CE62}"/>
              </a:ext>
            </a:extLst>
          </p:cNvPr>
          <p:cNvSpPr>
            <a:spLocks noGrp="1"/>
          </p:cNvSpPr>
          <p:nvPr>
            <p:ph type="title" hasCustomPrompt="1"/>
          </p:nvPr>
        </p:nvSpPr>
        <p:spPr>
          <a:xfrm>
            <a:off x="405000" y="276225"/>
            <a:ext cx="8332547" cy="712408"/>
          </a:xfrm>
        </p:spPr>
        <p:txBody>
          <a:bodyPr/>
          <a:lstStyle>
            <a:lvl1pPr>
              <a:defRPr/>
            </a:lvl1pPr>
          </a:lstStyle>
          <a:p>
            <a:r>
              <a:rPr lang="sv-SE" dirty="0"/>
              <a:t>Klicka och skriv rubrik</a:t>
            </a:r>
          </a:p>
        </p:txBody>
      </p:sp>
      <p:sp>
        <p:nvSpPr>
          <p:cNvPr id="17" name="Platshållare för bild 16">
            <a:extLst>
              <a:ext uri="{FF2B5EF4-FFF2-40B4-BE49-F238E27FC236}">
                <a16:creationId xmlns:a16="http://schemas.microsoft.com/office/drawing/2014/main" id="{48C5DE82-A350-4351-84F6-351AF6FB41FC}"/>
              </a:ext>
              <a:ext uri="{C183D7F6-B498-43B3-948B-1728B52AA6E4}">
                <adec:decorative xmlns:adec="http://schemas.microsoft.com/office/drawing/2017/decorative" val="1"/>
              </a:ext>
            </a:extLst>
          </p:cNvPr>
          <p:cNvSpPr>
            <a:spLocks noGrp="1"/>
          </p:cNvSpPr>
          <p:nvPr>
            <p:ph type="pic" sz="quarter" idx="13" hasCustomPrompt="1"/>
          </p:nvPr>
        </p:nvSpPr>
        <p:spPr>
          <a:xfrm>
            <a:off x="874074" y="1488175"/>
            <a:ext cx="1757294" cy="1757294"/>
          </a:xfrm>
          <a:prstGeom prst="ellipse">
            <a:avLst/>
          </a:prstGeom>
          <a:solidFill>
            <a:schemeClr val="accent2"/>
          </a:solidFill>
        </p:spPr>
        <p:txBody>
          <a:bodyPr anchor="ctr" anchorCtr="0"/>
          <a:lstStyle>
            <a:lvl1pPr marL="0" indent="0" algn="ctr">
              <a:buNone/>
              <a:defRPr sz="1200"/>
            </a:lvl1pPr>
          </a:lstStyle>
          <a:p>
            <a:pPr marL="0" marR="0" lvl="0" indent="0" algn="ctr" defTabSz="685800" rtl="0" eaLnBrk="1" fontAlgn="auto" latinLnBrk="0" hangingPunct="1">
              <a:lnSpc>
                <a:spcPct val="90000"/>
              </a:lnSpc>
              <a:spcBef>
                <a:spcPts val="1350"/>
              </a:spcBef>
              <a:spcAft>
                <a:spcPts val="0"/>
              </a:spcAft>
              <a:buClrTx/>
              <a:buSzTx/>
              <a:buFont typeface="Arial" panose="020B0604020202020204" pitchFamily="34" charset="0"/>
              <a:buNone/>
              <a:tabLst/>
              <a:defRPr/>
            </a:pPr>
            <a:r>
              <a:rPr lang="sv-SE" dirty="0"/>
              <a:t>Markera bildplatshållaren och infoga önskad bild</a:t>
            </a:r>
          </a:p>
        </p:txBody>
      </p:sp>
      <p:sp>
        <p:nvSpPr>
          <p:cNvPr id="18" name="Platshållare för bild 16">
            <a:extLst>
              <a:ext uri="{FF2B5EF4-FFF2-40B4-BE49-F238E27FC236}">
                <a16:creationId xmlns:a16="http://schemas.microsoft.com/office/drawing/2014/main" id="{1770619A-9F5E-4977-B549-010A443C8FC4}"/>
              </a:ext>
              <a:ext uri="{C183D7F6-B498-43B3-948B-1728B52AA6E4}">
                <adec:decorative xmlns:adec="http://schemas.microsoft.com/office/drawing/2017/decorative" val="1"/>
              </a:ext>
            </a:extLst>
          </p:cNvPr>
          <p:cNvSpPr>
            <a:spLocks noGrp="1"/>
          </p:cNvSpPr>
          <p:nvPr>
            <p:ph type="pic" sz="quarter" idx="14" hasCustomPrompt="1"/>
          </p:nvPr>
        </p:nvSpPr>
        <p:spPr>
          <a:xfrm>
            <a:off x="3694874" y="1488174"/>
            <a:ext cx="1757293" cy="1757293"/>
          </a:xfrm>
          <a:prstGeom prst="ellipse">
            <a:avLst/>
          </a:prstGeom>
          <a:solidFill>
            <a:schemeClr val="accent2"/>
          </a:solidFill>
        </p:spPr>
        <p:txBody>
          <a:bodyPr anchor="ctr" anchorCtr="0"/>
          <a:lstStyle>
            <a:lvl1pPr marL="0" indent="0" algn="ctr">
              <a:buNone/>
              <a:defRPr sz="1200"/>
            </a:lvl1pPr>
          </a:lstStyle>
          <a:p>
            <a:pPr marL="0" marR="0" lvl="0" indent="0" algn="ctr" defTabSz="685800" rtl="0" eaLnBrk="1" fontAlgn="auto" latinLnBrk="0" hangingPunct="1">
              <a:lnSpc>
                <a:spcPct val="90000"/>
              </a:lnSpc>
              <a:spcBef>
                <a:spcPts val="1350"/>
              </a:spcBef>
              <a:spcAft>
                <a:spcPts val="0"/>
              </a:spcAft>
              <a:buClrTx/>
              <a:buSzTx/>
              <a:buFont typeface="Arial" panose="020B0604020202020204" pitchFamily="34" charset="0"/>
              <a:buNone/>
              <a:tabLst/>
              <a:defRPr/>
            </a:pPr>
            <a:r>
              <a:rPr lang="sv-SE" dirty="0"/>
              <a:t>Markera bildplatshållaren och infoga önskad bild</a:t>
            </a:r>
          </a:p>
        </p:txBody>
      </p:sp>
      <p:sp>
        <p:nvSpPr>
          <p:cNvPr id="19" name="Platshållare för bild 16">
            <a:extLst>
              <a:ext uri="{FF2B5EF4-FFF2-40B4-BE49-F238E27FC236}">
                <a16:creationId xmlns:a16="http://schemas.microsoft.com/office/drawing/2014/main" id="{D42024DF-84B7-44DE-995F-9E5E2F57F491}"/>
              </a:ext>
              <a:ext uri="{C183D7F6-B498-43B3-948B-1728B52AA6E4}">
                <adec:decorative xmlns:adec="http://schemas.microsoft.com/office/drawing/2017/decorative" val="1"/>
              </a:ext>
            </a:extLst>
          </p:cNvPr>
          <p:cNvSpPr>
            <a:spLocks noGrp="1"/>
          </p:cNvSpPr>
          <p:nvPr>
            <p:ph type="pic" sz="quarter" idx="15" hasCustomPrompt="1"/>
          </p:nvPr>
        </p:nvSpPr>
        <p:spPr>
          <a:xfrm>
            <a:off x="6515672" y="1488174"/>
            <a:ext cx="1757293" cy="1757293"/>
          </a:xfrm>
          <a:prstGeom prst="ellipse">
            <a:avLst/>
          </a:prstGeom>
          <a:solidFill>
            <a:schemeClr val="accent2"/>
          </a:solidFill>
        </p:spPr>
        <p:txBody>
          <a:bodyPr anchor="ctr" anchorCtr="0"/>
          <a:lstStyle>
            <a:lvl1pPr marL="0" indent="0" algn="ctr">
              <a:buNone/>
              <a:defRPr sz="1200"/>
            </a:lvl1pPr>
          </a:lstStyle>
          <a:p>
            <a:pPr marL="0" marR="0" lvl="0" indent="0" algn="ctr" defTabSz="685800" rtl="0" eaLnBrk="1" fontAlgn="auto" latinLnBrk="0" hangingPunct="1">
              <a:lnSpc>
                <a:spcPct val="90000"/>
              </a:lnSpc>
              <a:spcBef>
                <a:spcPts val="1350"/>
              </a:spcBef>
              <a:spcAft>
                <a:spcPts val="0"/>
              </a:spcAft>
              <a:buClrTx/>
              <a:buSzTx/>
              <a:buFont typeface="Arial" panose="020B0604020202020204" pitchFamily="34" charset="0"/>
              <a:buNone/>
              <a:tabLst/>
              <a:defRPr/>
            </a:pPr>
            <a:r>
              <a:rPr lang="sv-SE" dirty="0"/>
              <a:t>Markera bildplatshållaren och infoga önskad bild</a:t>
            </a:r>
          </a:p>
        </p:txBody>
      </p:sp>
      <p:sp>
        <p:nvSpPr>
          <p:cNvPr id="8" name="Platshållare för text 1">
            <a:extLst>
              <a:ext uri="{FF2B5EF4-FFF2-40B4-BE49-F238E27FC236}">
                <a16:creationId xmlns:a16="http://schemas.microsoft.com/office/drawing/2014/main" id="{C6F066DD-6A33-4AE5-A592-695249B80E8F}"/>
              </a:ext>
            </a:extLst>
          </p:cNvPr>
          <p:cNvSpPr>
            <a:spLocks noGrp="1"/>
          </p:cNvSpPr>
          <p:nvPr>
            <p:ph type="body" sz="quarter" idx="16" hasCustomPrompt="1"/>
          </p:nvPr>
        </p:nvSpPr>
        <p:spPr>
          <a:xfrm>
            <a:off x="540000" y="3380469"/>
            <a:ext cx="2417302" cy="1022460"/>
          </a:xfrm>
        </p:spPr>
        <p:txBody>
          <a:bodyPr/>
          <a:lstStyle>
            <a:lvl1pPr marL="0" indent="0" algn="ctr">
              <a:spcBef>
                <a:spcPts val="450"/>
              </a:spcBef>
              <a:buNone/>
              <a:defRPr sz="975" spc="15" baseline="0">
                <a:solidFill>
                  <a:schemeClr val="bg1"/>
                </a:solidFill>
              </a:defRPr>
            </a:lvl1pPr>
            <a:lvl2pPr marL="176138" indent="0">
              <a:buNone/>
              <a:defRPr sz="1200"/>
            </a:lvl2pPr>
            <a:lvl3pPr marL="377354" indent="0">
              <a:buNone/>
              <a:defRPr sz="1200"/>
            </a:lvl3pPr>
            <a:lvl4pPr marL="567000" indent="0">
              <a:buNone/>
              <a:defRPr sz="1200"/>
            </a:lvl4pPr>
            <a:lvl5pPr marL="783000" indent="0">
              <a:buNone/>
              <a:defRPr sz="1200"/>
            </a:lvl5pPr>
          </a:lstStyle>
          <a:p>
            <a:pPr lvl="0"/>
            <a:r>
              <a:rPr lang="sv-SE" dirty="0"/>
              <a:t>Klicka och skriv text</a:t>
            </a:r>
          </a:p>
        </p:txBody>
      </p:sp>
      <p:sp>
        <p:nvSpPr>
          <p:cNvPr id="15" name="Platshållare för text 2">
            <a:extLst>
              <a:ext uri="{FF2B5EF4-FFF2-40B4-BE49-F238E27FC236}">
                <a16:creationId xmlns:a16="http://schemas.microsoft.com/office/drawing/2014/main" id="{3FC9CDCA-C566-4558-9BF3-3D2FD9168ABB}"/>
              </a:ext>
            </a:extLst>
          </p:cNvPr>
          <p:cNvSpPr>
            <a:spLocks noGrp="1"/>
          </p:cNvSpPr>
          <p:nvPr>
            <p:ph type="body" sz="quarter" idx="17" hasCustomPrompt="1"/>
          </p:nvPr>
        </p:nvSpPr>
        <p:spPr>
          <a:xfrm>
            <a:off x="3362901" y="3380469"/>
            <a:ext cx="2417402" cy="1022460"/>
          </a:xfrm>
        </p:spPr>
        <p:txBody>
          <a:bodyPr/>
          <a:lstStyle>
            <a:lvl1pPr marL="0" indent="0" algn="ctr">
              <a:spcBef>
                <a:spcPts val="450"/>
              </a:spcBef>
              <a:buNone/>
              <a:defRPr sz="975" spc="15" baseline="0">
                <a:solidFill>
                  <a:schemeClr val="bg1"/>
                </a:solidFill>
              </a:defRPr>
            </a:lvl1pPr>
            <a:lvl2pPr marL="176138" indent="0">
              <a:buNone/>
              <a:defRPr sz="1200"/>
            </a:lvl2pPr>
            <a:lvl3pPr marL="377354" indent="0">
              <a:buNone/>
              <a:defRPr sz="1200"/>
            </a:lvl3pPr>
            <a:lvl4pPr marL="567000" indent="0">
              <a:buNone/>
              <a:defRPr sz="1200"/>
            </a:lvl4pPr>
            <a:lvl5pPr marL="783000" indent="0">
              <a:buNone/>
              <a:defRPr sz="1200"/>
            </a:lvl5pPr>
          </a:lstStyle>
          <a:p>
            <a:pPr lvl="0"/>
            <a:r>
              <a:rPr lang="sv-SE" dirty="0"/>
              <a:t>Klicka och skriv text</a:t>
            </a:r>
          </a:p>
        </p:txBody>
      </p:sp>
      <p:sp>
        <p:nvSpPr>
          <p:cNvPr id="16" name="Platshållare för text 3">
            <a:extLst>
              <a:ext uri="{FF2B5EF4-FFF2-40B4-BE49-F238E27FC236}">
                <a16:creationId xmlns:a16="http://schemas.microsoft.com/office/drawing/2014/main" id="{5E54E7C9-0957-4A14-B304-C0D703CB6CE4}"/>
              </a:ext>
            </a:extLst>
          </p:cNvPr>
          <p:cNvSpPr>
            <a:spLocks noGrp="1"/>
          </p:cNvSpPr>
          <p:nvPr>
            <p:ph type="body" sz="quarter" idx="18" hasCustomPrompt="1"/>
          </p:nvPr>
        </p:nvSpPr>
        <p:spPr>
          <a:xfrm>
            <a:off x="6185901" y="3380469"/>
            <a:ext cx="2417901" cy="1022460"/>
          </a:xfrm>
        </p:spPr>
        <p:txBody>
          <a:bodyPr/>
          <a:lstStyle>
            <a:lvl1pPr marL="0" indent="0" algn="ctr">
              <a:spcBef>
                <a:spcPts val="450"/>
              </a:spcBef>
              <a:buNone/>
              <a:defRPr sz="975" spc="15" baseline="0">
                <a:solidFill>
                  <a:schemeClr val="bg1"/>
                </a:solidFill>
              </a:defRPr>
            </a:lvl1pPr>
            <a:lvl2pPr marL="176138" indent="0">
              <a:buNone/>
              <a:defRPr sz="1200"/>
            </a:lvl2pPr>
            <a:lvl3pPr marL="377354" indent="0">
              <a:buNone/>
              <a:defRPr sz="1200"/>
            </a:lvl3pPr>
            <a:lvl4pPr marL="567000" indent="0">
              <a:buNone/>
              <a:defRPr sz="1200"/>
            </a:lvl4pPr>
            <a:lvl5pPr marL="783000" indent="0">
              <a:buNone/>
              <a:defRPr sz="1200"/>
            </a:lvl5pPr>
          </a:lstStyle>
          <a:p>
            <a:pPr lvl="0"/>
            <a:r>
              <a:rPr lang="sv-SE" dirty="0"/>
              <a:t>Klicka och skriv text</a:t>
            </a:r>
          </a:p>
        </p:txBody>
      </p:sp>
      <p:sp>
        <p:nvSpPr>
          <p:cNvPr id="7" name="Platshållare för bildnummer 6">
            <a:extLst>
              <a:ext uri="{FF2B5EF4-FFF2-40B4-BE49-F238E27FC236}">
                <a16:creationId xmlns:a16="http://schemas.microsoft.com/office/drawing/2014/main" id="{85C4A553-AD9D-4197-A713-E1B8FD3A3BC0}"/>
              </a:ext>
            </a:extLst>
          </p:cNvPr>
          <p:cNvSpPr>
            <a:spLocks noGrp="1"/>
          </p:cNvSpPr>
          <p:nvPr>
            <p:ph type="sldNum" sz="quarter" idx="12"/>
          </p:nvPr>
        </p:nvSpPr>
        <p:spPr/>
        <p:txBody>
          <a:bodyPr/>
          <a:lstStyle/>
          <a:p>
            <a:fld id="{5204B58B-0420-4827-A2A8-7A3D043AFDDE}" type="slidenum">
              <a:rPr lang="sv-SE" smtClean="0"/>
              <a:t>‹#›</a:t>
            </a:fld>
            <a:endParaRPr lang="sv-SE" dirty="0"/>
          </a:p>
        </p:txBody>
      </p:sp>
    </p:spTree>
    <p:extLst>
      <p:ext uri="{BB962C8B-B14F-4D97-AF65-F5344CB8AC3E}">
        <p14:creationId xmlns:p14="http://schemas.microsoft.com/office/powerpoint/2010/main" val="4007554019"/>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re textpuffar">
    <p:bg>
      <p:bgPr>
        <a:solidFill>
          <a:schemeClr val="bg1"/>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C9EE3652-AEEE-4657-BB2E-3B8E00B65EA7}"/>
              </a:ext>
              <a:ext uri="{C183D7F6-B498-43B3-948B-1728B52AA6E4}">
                <adec:decorative xmlns:adec="http://schemas.microsoft.com/office/drawing/2017/decorative" val="1"/>
              </a:ext>
            </a:extLst>
          </p:cNvPr>
          <p:cNvSpPr/>
          <p:nvPr userDrawn="1"/>
        </p:nvSpPr>
        <p:spPr>
          <a:xfrm>
            <a:off x="0" y="1219200"/>
            <a:ext cx="9144000" cy="33223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2" name="Rubrik 1">
            <a:extLst>
              <a:ext uri="{FF2B5EF4-FFF2-40B4-BE49-F238E27FC236}">
                <a16:creationId xmlns:a16="http://schemas.microsoft.com/office/drawing/2014/main" id="{61A5529F-59CA-47AD-9F2E-580F8914CE62}"/>
              </a:ext>
            </a:extLst>
          </p:cNvPr>
          <p:cNvSpPr>
            <a:spLocks noGrp="1"/>
          </p:cNvSpPr>
          <p:nvPr>
            <p:ph type="title" hasCustomPrompt="1"/>
          </p:nvPr>
        </p:nvSpPr>
        <p:spPr>
          <a:xfrm>
            <a:off x="405000" y="276225"/>
            <a:ext cx="8332547" cy="712408"/>
          </a:xfrm>
        </p:spPr>
        <p:txBody>
          <a:bodyPr/>
          <a:lstStyle>
            <a:lvl1pPr>
              <a:defRPr/>
            </a:lvl1pPr>
          </a:lstStyle>
          <a:p>
            <a:r>
              <a:rPr lang="sv-SE" dirty="0"/>
              <a:t>Klicka och skriv rubrik</a:t>
            </a:r>
          </a:p>
        </p:txBody>
      </p:sp>
      <p:sp>
        <p:nvSpPr>
          <p:cNvPr id="7" name="Platshållare för bildnummer 6">
            <a:extLst>
              <a:ext uri="{FF2B5EF4-FFF2-40B4-BE49-F238E27FC236}">
                <a16:creationId xmlns:a16="http://schemas.microsoft.com/office/drawing/2014/main" id="{85C4A553-AD9D-4197-A713-E1B8FD3A3BC0}"/>
              </a:ext>
            </a:extLst>
          </p:cNvPr>
          <p:cNvSpPr>
            <a:spLocks noGrp="1"/>
          </p:cNvSpPr>
          <p:nvPr>
            <p:ph type="sldNum" sz="quarter" idx="12"/>
          </p:nvPr>
        </p:nvSpPr>
        <p:spPr/>
        <p:txBody>
          <a:bodyPr/>
          <a:lstStyle/>
          <a:p>
            <a:fld id="{5204B58B-0420-4827-A2A8-7A3D043AFDDE}" type="slidenum">
              <a:rPr lang="sv-SE" smtClean="0"/>
              <a:t>‹#›</a:t>
            </a:fld>
            <a:endParaRPr lang="sv-SE" dirty="0"/>
          </a:p>
        </p:txBody>
      </p:sp>
      <p:sp>
        <p:nvSpPr>
          <p:cNvPr id="10" name="Platshållare för text 9">
            <a:extLst>
              <a:ext uri="{FF2B5EF4-FFF2-40B4-BE49-F238E27FC236}">
                <a16:creationId xmlns:a16="http://schemas.microsoft.com/office/drawing/2014/main" id="{1F7324EE-B6D8-4EE6-8FEE-C02679E30709}"/>
              </a:ext>
            </a:extLst>
          </p:cNvPr>
          <p:cNvSpPr>
            <a:spLocks noGrp="1"/>
          </p:cNvSpPr>
          <p:nvPr>
            <p:ph type="body" sz="quarter" idx="19"/>
          </p:nvPr>
        </p:nvSpPr>
        <p:spPr>
          <a:xfrm>
            <a:off x="3694201" y="1799381"/>
            <a:ext cx="1755002" cy="1755000"/>
          </a:xfrm>
          <a:prstGeom prst="ellipse">
            <a:avLst/>
          </a:prstGeom>
          <a:solidFill>
            <a:schemeClr val="tx2"/>
          </a:solidFill>
        </p:spPr>
        <p:txBody>
          <a:bodyPr lIns="36000" tIns="36000" rIns="36000" bIns="36000" anchor="ctr" anchorCtr="0"/>
          <a:lstStyle>
            <a:lvl1pPr marL="0" indent="0" algn="ctr">
              <a:lnSpc>
                <a:spcPct val="100000"/>
              </a:lnSpc>
              <a:spcBef>
                <a:spcPts val="450"/>
              </a:spcBef>
              <a:buNone/>
              <a:defRPr sz="1500" b="1">
                <a:solidFill>
                  <a:schemeClr val="bg1"/>
                </a:solidFill>
              </a:defRPr>
            </a:lvl1pPr>
            <a:lvl2pPr marL="203138" indent="0" algn="ctr">
              <a:lnSpc>
                <a:spcPct val="100000"/>
              </a:lnSpc>
              <a:spcBef>
                <a:spcPts val="450"/>
              </a:spcBef>
              <a:buNone/>
              <a:defRPr/>
            </a:lvl2pPr>
            <a:lvl3pPr marL="404354" indent="0" algn="ctr">
              <a:lnSpc>
                <a:spcPct val="100000"/>
              </a:lnSpc>
              <a:spcBef>
                <a:spcPts val="450"/>
              </a:spcBef>
              <a:buNone/>
              <a:defRPr/>
            </a:lvl3pPr>
            <a:lvl4pPr marL="594000" indent="0" algn="ctr">
              <a:lnSpc>
                <a:spcPct val="100000"/>
              </a:lnSpc>
              <a:spcBef>
                <a:spcPts val="450"/>
              </a:spcBef>
              <a:buNone/>
              <a:defRPr/>
            </a:lvl4pPr>
            <a:lvl5pPr marL="810000" indent="0" algn="ctr">
              <a:lnSpc>
                <a:spcPct val="100000"/>
              </a:lnSpc>
              <a:spcBef>
                <a:spcPts val="450"/>
              </a:spcBef>
              <a:buNone/>
              <a:defRPr/>
            </a:lvl5pPr>
          </a:lstStyle>
          <a:p>
            <a:pPr lvl="0"/>
            <a:r>
              <a:rPr lang="sv-SE"/>
              <a:t>Klicka här för att ändra format på bakgrundstexten</a:t>
            </a:r>
          </a:p>
        </p:txBody>
      </p:sp>
      <p:sp>
        <p:nvSpPr>
          <p:cNvPr id="20" name="Platshållare för text 9">
            <a:extLst>
              <a:ext uri="{FF2B5EF4-FFF2-40B4-BE49-F238E27FC236}">
                <a16:creationId xmlns:a16="http://schemas.microsoft.com/office/drawing/2014/main" id="{1F03E57D-329D-41A4-8BDF-1D4DAEACD273}"/>
              </a:ext>
            </a:extLst>
          </p:cNvPr>
          <p:cNvSpPr>
            <a:spLocks noGrp="1"/>
          </p:cNvSpPr>
          <p:nvPr>
            <p:ph type="body" sz="quarter" idx="20"/>
          </p:nvPr>
        </p:nvSpPr>
        <p:spPr>
          <a:xfrm>
            <a:off x="6517252" y="1799381"/>
            <a:ext cx="1755002" cy="1755000"/>
          </a:xfrm>
          <a:prstGeom prst="ellipse">
            <a:avLst/>
          </a:prstGeom>
          <a:solidFill>
            <a:schemeClr val="tx2"/>
          </a:solidFill>
        </p:spPr>
        <p:txBody>
          <a:bodyPr lIns="36000" tIns="36000" rIns="36000" bIns="36000" anchor="ctr" anchorCtr="0"/>
          <a:lstStyle>
            <a:lvl1pPr marL="0" indent="0" algn="ctr">
              <a:lnSpc>
                <a:spcPct val="100000"/>
              </a:lnSpc>
              <a:spcBef>
                <a:spcPts val="450"/>
              </a:spcBef>
              <a:buNone/>
              <a:defRPr sz="1500" b="1">
                <a:solidFill>
                  <a:schemeClr val="bg1"/>
                </a:solidFill>
              </a:defRPr>
            </a:lvl1pPr>
            <a:lvl2pPr marL="203138" indent="0" algn="ctr">
              <a:lnSpc>
                <a:spcPct val="100000"/>
              </a:lnSpc>
              <a:spcBef>
                <a:spcPts val="450"/>
              </a:spcBef>
              <a:buNone/>
              <a:defRPr/>
            </a:lvl2pPr>
            <a:lvl3pPr marL="404354" indent="0" algn="ctr">
              <a:lnSpc>
                <a:spcPct val="100000"/>
              </a:lnSpc>
              <a:spcBef>
                <a:spcPts val="450"/>
              </a:spcBef>
              <a:buNone/>
              <a:defRPr/>
            </a:lvl3pPr>
            <a:lvl4pPr marL="594000" indent="0" algn="ctr">
              <a:lnSpc>
                <a:spcPct val="100000"/>
              </a:lnSpc>
              <a:spcBef>
                <a:spcPts val="450"/>
              </a:spcBef>
              <a:buNone/>
              <a:defRPr/>
            </a:lvl4pPr>
            <a:lvl5pPr marL="810000" indent="0" algn="ctr">
              <a:lnSpc>
                <a:spcPct val="100000"/>
              </a:lnSpc>
              <a:spcBef>
                <a:spcPts val="450"/>
              </a:spcBef>
              <a:buNone/>
              <a:defRPr/>
            </a:lvl5pPr>
          </a:lstStyle>
          <a:p>
            <a:pPr lvl="0"/>
            <a:r>
              <a:rPr lang="sv-SE"/>
              <a:t>Klicka här för att ändra format på bakgrundstexten</a:t>
            </a:r>
          </a:p>
        </p:txBody>
      </p:sp>
      <p:sp>
        <p:nvSpPr>
          <p:cNvPr id="21" name="Platshållare för text 9">
            <a:extLst>
              <a:ext uri="{FF2B5EF4-FFF2-40B4-BE49-F238E27FC236}">
                <a16:creationId xmlns:a16="http://schemas.microsoft.com/office/drawing/2014/main" id="{41D2855B-C699-4073-854A-5519900992FB}"/>
              </a:ext>
            </a:extLst>
          </p:cNvPr>
          <p:cNvSpPr>
            <a:spLocks noGrp="1"/>
          </p:cNvSpPr>
          <p:nvPr>
            <p:ph type="body" sz="quarter" idx="21"/>
          </p:nvPr>
        </p:nvSpPr>
        <p:spPr>
          <a:xfrm>
            <a:off x="871150" y="1799381"/>
            <a:ext cx="1755002" cy="1755000"/>
          </a:xfrm>
          <a:prstGeom prst="ellipse">
            <a:avLst/>
          </a:prstGeom>
          <a:solidFill>
            <a:schemeClr val="tx2"/>
          </a:solidFill>
        </p:spPr>
        <p:txBody>
          <a:bodyPr lIns="36000" tIns="36000" rIns="36000" bIns="36000" anchor="ctr" anchorCtr="0"/>
          <a:lstStyle>
            <a:lvl1pPr marL="0" indent="0" algn="ctr">
              <a:lnSpc>
                <a:spcPct val="100000"/>
              </a:lnSpc>
              <a:spcBef>
                <a:spcPts val="450"/>
              </a:spcBef>
              <a:buNone/>
              <a:defRPr sz="1500" b="1">
                <a:solidFill>
                  <a:schemeClr val="bg1"/>
                </a:solidFill>
              </a:defRPr>
            </a:lvl1pPr>
            <a:lvl2pPr marL="203138" indent="0" algn="ctr">
              <a:lnSpc>
                <a:spcPct val="100000"/>
              </a:lnSpc>
              <a:spcBef>
                <a:spcPts val="450"/>
              </a:spcBef>
              <a:buNone/>
              <a:defRPr/>
            </a:lvl2pPr>
            <a:lvl3pPr marL="404354" indent="0" algn="ctr">
              <a:lnSpc>
                <a:spcPct val="100000"/>
              </a:lnSpc>
              <a:spcBef>
                <a:spcPts val="450"/>
              </a:spcBef>
              <a:buNone/>
              <a:defRPr/>
            </a:lvl3pPr>
            <a:lvl4pPr marL="594000" indent="0" algn="ctr">
              <a:lnSpc>
                <a:spcPct val="100000"/>
              </a:lnSpc>
              <a:spcBef>
                <a:spcPts val="450"/>
              </a:spcBef>
              <a:buNone/>
              <a:defRPr/>
            </a:lvl4pPr>
            <a:lvl5pPr marL="810000" indent="0" algn="ctr">
              <a:lnSpc>
                <a:spcPct val="100000"/>
              </a:lnSpc>
              <a:spcBef>
                <a:spcPts val="450"/>
              </a:spcBef>
              <a:buNone/>
              <a:defRPr/>
            </a:lvl5pPr>
          </a:lstStyle>
          <a:p>
            <a:pPr lvl="0"/>
            <a:r>
              <a:rPr lang="sv-SE"/>
              <a:t>Klicka här för att ändra format på bakgrundstexten</a:t>
            </a:r>
          </a:p>
        </p:txBody>
      </p:sp>
    </p:spTree>
    <p:extLst>
      <p:ext uri="{BB962C8B-B14F-4D97-AF65-F5344CB8AC3E}">
        <p14:creationId xmlns:p14="http://schemas.microsoft.com/office/powerpoint/2010/main" val="1709607932"/>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ort text och bild">
    <p:bg>
      <p:bgPr>
        <a:solidFill>
          <a:schemeClr val="bg1"/>
        </a:solidFill>
        <a:effectLst/>
      </p:bgPr>
    </p:bg>
    <p:spTree>
      <p:nvGrpSpPr>
        <p:cNvPr id="1" name=""/>
        <p:cNvGrpSpPr/>
        <p:nvPr/>
      </p:nvGrpSpPr>
      <p:grpSpPr>
        <a:xfrm>
          <a:off x="0" y="0"/>
          <a:ext cx="0" cy="0"/>
          <a:chOff x="0" y="0"/>
          <a:chExt cx="0" cy="0"/>
        </a:xfrm>
      </p:grpSpPr>
      <p:sp>
        <p:nvSpPr>
          <p:cNvPr id="34" name="Blå">
            <a:extLst>
              <a:ext uri="{FF2B5EF4-FFF2-40B4-BE49-F238E27FC236}">
                <a16:creationId xmlns:a16="http://schemas.microsoft.com/office/drawing/2014/main" id="{A0EE388C-E3E2-4E14-BC74-6DC6CF2B6C88}"/>
              </a:ext>
            </a:extLst>
          </p:cNvPr>
          <p:cNvSpPr/>
          <p:nvPr userDrawn="1"/>
        </p:nvSpPr>
        <p:spPr>
          <a:xfrm>
            <a:off x="4004963" y="251011"/>
            <a:ext cx="553591" cy="4312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grpSp>
        <p:nvGrpSpPr>
          <p:cNvPr id="13" name="Region Östergötland">
            <a:extLst>
              <a:ext uri="{FF2B5EF4-FFF2-40B4-BE49-F238E27FC236}">
                <a16:creationId xmlns:a16="http://schemas.microsoft.com/office/drawing/2014/main" id="{2C32ADD5-52CA-4E1F-A2D2-D1F454B75202}"/>
              </a:ext>
              <a:ext uri="{C183D7F6-B498-43B3-948B-1728B52AA6E4}">
                <adec:decorative xmlns:adec="http://schemas.microsoft.com/office/drawing/2017/decorative" val="1"/>
              </a:ext>
            </a:extLst>
          </p:cNvPr>
          <p:cNvGrpSpPr/>
          <p:nvPr userDrawn="1"/>
        </p:nvGrpSpPr>
        <p:grpSpPr>
          <a:xfrm>
            <a:off x="7930585" y="4673844"/>
            <a:ext cx="1212485" cy="324838"/>
            <a:chOff x="10580645" y="6231792"/>
            <a:chExt cx="1616646" cy="433117"/>
          </a:xfrm>
        </p:grpSpPr>
        <p:sp>
          <p:nvSpPr>
            <p:cNvPr id="14" name="Frihandsfigur: Form 13">
              <a:extLst>
                <a:ext uri="{FF2B5EF4-FFF2-40B4-BE49-F238E27FC236}">
                  <a16:creationId xmlns:a16="http://schemas.microsoft.com/office/drawing/2014/main" id="{441D83A3-7F32-43DC-9A88-FDC7BD811715}"/>
                </a:ext>
              </a:extLst>
            </p:cNvPr>
            <p:cNvSpPr/>
            <p:nvPr userDrawn="1"/>
          </p:nvSpPr>
          <p:spPr>
            <a:xfrm>
              <a:off x="10580645" y="6231792"/>
              <a:ext cx="1616646" cy="433117"/>
            </a:xfrm>
            <a:custGeom>
              <a:avLst/>
              <a:gdLst>
                <a:gd name="connsiteX0" fmla="*/ 216372 w 1616646"/>
                <a:gd name="connsiteY0" fmla="*/ 0 h 433117"/>
                <a:gd name="connsiteX1" fmla="*/ 1616646 w 1616646"/>
                <a:gd name="connsiteY1" fmla="*/ 0 h 433117"/>
                <a:gd name="connsiteX2" fmla="*/ 1616646 w 1616646"/>
                <a:gd name="connsiteY2" fmla="*/ 0 h 433117"/>
                <a:gd name="connsiteX3" fmla="*/ 1616646 w 1616646"/>
                <a:gd name="connsiteY3" fmla="*/ 433117 h 433117"/>
                <a:gd name="connsiteX4" fmla="*/ 1616646 w 1616646"/>
                <a:gd name="connsiteY4" fmla="*/ 433117 h 433117"/>
                <a:gd name="connsiteX5" fmla="*/ 216372 w 1616646"/>
                <a:gd name="connsiteY5" fmla="*/ 433117 h 433117"/>
                <a:gd name="connsiteX6" fmla="*/ 0 w 1616646"/>
                <a:gd name="connsiteY6" fmla="*/ 216372 h 433117"/>
                <a:gd name="connsiteX7" fmla="*/ 0 w 1616646"/>
                <a:gd name="connsiteY7" fmla="*/ 216372 h 433117"/>
                <a:gd name="connsiteX8" fmla="*/ 0 w 1616646"/>
                <a:gd name="connsiteY8" fmla="*/ 216372 h 433117"/>
                <a:gd name="connsiteX9" fmla="*/ 216372 w 1616646"/>
                <a:gd name="connsiteY9" fmla="*/ 0 h 433117"/>
                <a:gd name="connsiteX10" fmla="*/ 216372 w 1616646"/>
                <a:gd name="connsiteY10" fmla="*/ 0 h 43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646" h="433117">
                  <a:moveTo>
                    <a:pt x="216372" y="0"/>
                  </a:moveTo>
                  <a:lnTo>
                    <a:pt x="1616646" y="0"/>
                  </a:lnTo>
                  <a:lnTo>
                    <a:pt x="1616646" y="0"/>
                  </a:lnTo>
                  <a:lnTo>
                    <a:pt x="1616646" y="433117"/>
                  </a:lnTo>
                  <a:lnTo>
                    <a:pt x="1616646" y="433117"/>
                  </a:lnTo>
                  <a:lnTo>
                    <a:pt x="216372" y="433117"/>
                  </a:lnTo>
                  <a:cubicBezTo>
                    <a:pt x="96827" y="433117"/>
                    <a:pt x="0" y="335917"/>
                    <a:pt x="0" y="216372"/>
                  </a:cubicBezTo>
                  <a:cubicBezTo>
                    <a:pt x="0" y="216372"/>
                    <a:pt x="0" y="216372"/>
                    <a:pt x="0" y="216372"/>
                  </a:cubicBezTo>
                  <a:lnTo>
                    <a:pt x="0" y="216372"/>
                  </a:lnTo>
                  <a:cubicBezTo>
                    <a:pt x="0" y="96828"/>
                    <a:pt x="96827" y="0"/>
                    <a:pt x="216372" y="0"/>
                  </a:cubicBezTo>
                  <a:cubicBezTo>
                    <a:pt x="216372" y="0"/>
                    <a:pt x="216372" y="0"/>
                    <a:pt x="216372" y="0"/>
                  </a:cubicBezTo>
                  <a:close/>
                </a:path>
              </a:pathLst>
            </a:custGeom>
            <a:solidFill>
              <a:srgbClr val="0861CE"/>
            </a:solidFill>
            <a:ln w="3709" cap="flat">
              <a:noFill/>
              <a:prstDash val="solid"/>
              <a:miter/>
            </a:ln>
          </p:spPr>
          <p:txBody>
            <a:bodyPr rtlCol="0" anchor="ctr"/>
            <a:lstStyle/>
            <a:p>
              <a:endParaRPr lang="sv-SE" sz="1350"/>
            </a:p>
          </p:txBody>
        </p:sp>
        <p:sp>
          <p:nvSpPr>
            <p:cNvPr id="15" name="Frihandsfigur: Form 14">
              <a:extLst>
                <a:ext uri="{FF2B5EF4-FFF2-40B4-BE49-F238E27FC236}">
                  <a16:creationId xmlns:a16="http://schemas.microsoft.com/office/drawing/2014/main" id="{A3D8F001-CCF5-4E31-9007-59EB5CC78BD7}"/>
                </a:ext>
              </a:extLst>
            </p:cNvPr>
            <p:cNvSpPr/>
            <p:nvPr/>
          </p:nvSpPr>
          <p:spPr>
            <a:xfrm>
              <a:off x="10647288" y="6298826"/>
              <a:ext cx="1254307" cy="298698"/>
            </a:xfrm>
            <a:custGeom>
              <a:avLst/>
              <a:gdLst>
                <a:gd name="connsiteX0" fmla="*/ 1053948 w 1254307"/>
                <a:gd name="connsiteY0" fmla="*/ 221958 h 298698"/>
                <a:gd name="connsiteX1" fmla="*/ 1027135 w 1254307"/>
                <a:gd name="connsiteY1" fmla="*/ 228662 h 298698"/>
                <a:gd name="connsiteX2" fmla="*/ 1023783 w 1254307"/>
                <a:gd name="connsiteY2" fmla="*/ 237972 h 298698"/>
                <a:gd name="connsiteX3" fmla="*/ 1039424 w 1254307"/>
                <a:gd name="connsiteY3" fmla="*/ 251379 h 298698"/>
                <a:gd name="connsiteX4" fmla="*/ 1057672 w 1254307"/>
                <a:gd name="connsiteY4" fmla="*/ 245793 h 298698"/>
                <a:gd name="connsiteX5" fmla="*/ 1058417 w 1254307"/>
                <a:gd name="connsiteY5" fmla="*/ 245420 h 298698"/>
                <a:gd name="connsiteX6" fmla="*/ 1058790 w 1254307"/>
                <a:gd name="connsiteY6" fmla="*/ 245048 h 298698"/>
                <a:gd name="connsiteX7" fmla="*/ 1058790 w 1254307"/>
                <a:gd name="connsiteY7" fmla="*/ 221958 h 298698"/>
                <a:gd name="connsiteX8" fmla="*/ 1221535 w 1254307"/>
                <a:gd name="connsiteY8" fmla="*/ 191793 h 298698"/>
                <a:gd name="connsiteX9" fmla="*/ 1196210 w 1254307"/>
                <a:gd name="connsiteY9" fmla="*/ 221958 h 298698"/>
                <a:gd name="connsiteX10" fmla="*/ 1219300 w 1254307"/>
                <a:gd name="connsiteY10" fmla="*/ 250262 h 298698"/>
                <a:gd name="connsiteX11" fmla="*/ 1236059 w 1254307"/>
                <a:gd name="connsiteY11" fmla="*/ 244676 h 298698"/>
                <a:gd name="connsiteX12" fmla="*/ 1236804 w 1254307"/>
                <a:gd name="connsiteY12" fmla="*/ 244303 h 298698"/>
                <a:gd name="connsiteX13" fmla="*/ 1237176 w 1254307"/>
                <a:gd name="connsiteY13" fmla="*/ 196634 h 298698"/>
                <a:gd name="connsiteX14" fmla="*/ 1236804 w 1254307"/>
                <a:gd name="connsiteY14" fmla="*/ 196262 h 298698"/>
                <a:gd name="connsiteX15" fmla="*/ 1221535 w 1254307"/>
                <a:gd name="connsiteY15" fmla="*/ 191793 h 298698"/>
                <a:gd name="connsiteX16" fmla="*/ 850239 w 1254307"/>
                <a:gd name="connsiteY16" fmla="*/ 191793 h 298698"/>
                <a:gd name="connsiteX17" fmla="*/ 827521 w 1254307"/>
                <a:gd name="connsiteY17" fmla="*/ 220841 h 298698"/>
                <a:gd name="connsiteX18" fmla="*/ 850983 w 1254307"/>
                <a:gd name="connsiteY18" fmla="*/ 250634 h 298698"/>
                <a:gd name="connsiteX19" fmla="*/ 873328 w 1254307"/>
                <a:gd name="connsiteY19" fmla="*/ 221586 h 298698"/>
                <a:gd name="connsiteX20" fmla="*/ 850239 w 1254307"/>
                <a:gd name="connsiteY20" fmla="*/ 191793 h 298698"/>
                <a:gd name="connsiteX21" fmla="*/ 761232 w 1254307"/>
                <a:gd name="connsiteY21" fmla="*/ 191793 h 298698"/>
                <a:gd name="connsiteX22" fmla="*/ 735907 w 1254307"/>
                <a:gd name="connsiteY22" fmla="*/ 221213 h 298698"/>
                <a:gd name="connsiteX23" fmla="*/ 758625 w 1254307"/>
                <a:gd name="connsiteY23" fmla="*/ 248772 h 298698"/>
                <a:gd name="connsiteX24" fmla="*/ 776500 w 1254307"/>
                <a:gd name="connsiteY24" fmla="*/ 242813 h 298698"/>
                <a:gd name="connsiteX25" fmla="*/ 776500 w 1254307"/>
                <a:gd name="connsiteY25" fmla="*/ 195144 h 298698"/>
                <a:gd name="connsiteX26" fmla="*/ 776128 w 1254307"/>
                <a:gd name="connsiteY26" fmla="*/ 194772 h 298698"/>
                <a:gd name="connsiteX27" fmla="*/ 761232 w 1254307"/>
                <a:gd name="connsiteY27" fmla="*/ 191793 h 298698"/>
                <a:gd name="connsiteX28" fmla="*/ 611893 w 1254307"/>
                <a:gd name="connsiteY28" fmla="*/ 190675 h 298698"/>
                <a:gd name="connsiteX29" fmla="*/ 589549 w 1254307"/>
                <a:gd name="connsiteY29" fmla="*/ 213020 h 298698"/>
                <a:gd name="connsiteX30" fmla="*/ 589549 w 1254307"/>
                <a:gd name="connsiteY30" fmla="*/ 213765 h 298698"/>
                <a:gd name="connsiteX31" fmla="*/ 630514 w 1254307"/>
                <a:gd name="connsiteY31" fmla="*/ 213765 h 298698"/>
                <a:gd name="connsiteX32" fmla="*/ 630514 w 1254307"/>
                <a:gd name="connsiteY32" fmla="*/ 213020 h 298698"/>
                <a:gd name="connsiteX33" fmla="*/ 611893 w 1254307"/>
                <a:gd name="connsiteY33" fmla="*/ 190675 h 298698"/>
                <a:gd name="connsiteX34" fmla="*/ 467770 w 1254307"/>
                <a:gd name="connsiteY34" fmla="*/ 178014 h 298698"/>
                <a:gd name="connsiteX35" fmla="*/ 493839 w 1254307"/>
                <a:gd name="connsiteY35" fmla="*/ 185090 h 298698"/>
                <a:gd name="connsiteX36" fmla="*/ 487880 w 1254307"/>
                <a:gd name="connsiteY36" fmla="*/ 195890 h 298698"/>
                <a:gd name="connsiteX37" fmla="*/ 468887 w 1254307"/>
                <a:gd name="connsiteY37" fmla="*/ 190676 h 298698"/>
                <a:gd name="connsiteX38" fmla="*/ 454735 w 1254307"/>
                <a:gd name="connsiteY38" fmla="*/ 201104 h 298698"/>
                <a:gd name="connsiteX39" fmla="*/ 469632 w 1254307"/>
                <a:gd name="connsiteY39" fmla="*/ 213766 h 298698"/>
                <a:gd name="connsiteX40" fmla="*/ 470749 w 1254307"/>
                <a:gd name="connsiteY40" fmla="*/ 214138 h 298698"/>
                <a:gd name="connsiteX41" fmla="*/ 494956 w 1254307"/>
                <a:gd name="connsiteY41" fmla="*/ 239835 h 298698"/>
                <a:gd name="connsiteX42" fmla="*/ 464046 w 1254307"/>
                <a:gd name="connsiteY42" fmla="*/ 264787 h 298698"/>
                <a:gd name="connsiteX43" fmla="*/ 434625 w 1254307"/>
                <a:gd name="connsiteY43" fmla="*/ 256593 h 298698"/>
                <a:gd name="connsiteX44" fmla="*/ 440584 w 1254307"/>
                <a:gd name="connsiteY44" fmla="*/ 245421 h 298698"/>
                <a:gd name="connsiteX45" fmla="*/ 462184 w 1254307"/>
                <a:gd name="connsiteY45" fmla="*/ 251752 h 298698"/>
                <a:gd name="connsiteX46" fmla="*/ 477453 w 1254307"/>
                <a:gd name="connsiteY46" fmla="*/ 240580 h 298698"/>
                <a:gd name="connsiteX47" fmla="*/ 461811 w 1254307"/>
                <a:gd name="connsiteY47" fmla="*/ 227545 h 298698"/>
                <a:gd name="connsiteX48" fmla="*/ 459204 w 1254307"/>
                <a:gd name="connsiteY48" fmla="*/ 226428 h 298698"/>
                <a:gd name="connsiteX49" fmla="*/ 437604 w 1254307"/>
                <a:gd name="connsiteY49" fmla="*/ 202221 h 298698"/>
                <a:gd name="connsiteX50" fmla="*/ 467770 w 1254307"/>
                <a:gd name="connsiteY50" fmla="*/ 178014 h 298698"/>
                <a:gd name="connsiteX51" fmla="*/ 1134762 w 1254307"/>
                <a:gd name="connsiteY51" fmla="*/ 177641 h 298698"/>
                <a:gd name="connsiteX52" fmla="*/ 1155245 w 1254307"/>
                <a:gd name="connsiteY52" fmla="*/ 185089 h 298698"/>
                <a:gd name="connsiteX53" fmla="*/ 1163438 w 1254307"/>
                <a:gd name="connsiteY53" fmla="*/ 215627 h 298698"/>
                <a:gd name="connsiteX54" fmla="*/ 1163438 w 1254307"/>
                <a:gd name="connsiteY54" fmla="*/ 262551 h 298698"/>
                <a:gd name="connsiteX55" fmla="*/ 1146307 w 1254307"/>
                <a:gd name="connsiteY55" fmla="*/ 262551 h 298698"/>
                <a:gd name="connsiteX56" fmla="*/ 1146307 w 1254307"/>
                <a:gd name="connsiteY56" fmla="*/ 217489 h 298698"/>
                <a:gd name="connsiteX57" fmla="*/ 1142210 w 1254307"/>
                <a:gd name="connsiteY57" fmla="*/ 196262 h 298698"/>
                <a:gd name="connsiteX58" fmla="*/ 1131038 w 1254307"/>
                <a:gd name="connsiteY58" fmla="*/ 192538 h 298698"/>
                <a:gd name="connsiteX59" fmla="*/ 1112045 w 1254307"/>
                <a:gd name="connsiteY59" fmla="*/ 198869 h 298698"/>
                <a:gd name="connsiteX60" fmla="*/ 1111672 w 1254307"/>
                <a:gd name="connsiteY60" fmla="*/ 199241 h 298698"/>
                <a:gd name="connsiteX61" fmla="*/ 1111672 w 1254307"/>
                <a:gd name="connsiteY61" fmla="*/ 262924 h 298698"/>
                <a:gd name="connsiteX62" fmla="*/ 1094169 w 1254307"/>
                <a:gd name="connsiteY62" fmla="*/ 262924 h 298698"/>
                <a:gd name="connsiteX63" fmla="*/ 1094169 w 1254307"/>
                <a:gd name="connsiteY63" fmla="*/ 180248 h 298698"/>
                <a:gd name="connsiteX64" fmla="*/ 1109066 w 1254307"/>
                <a:gd name="connsiteY64" fmla="*/ 180248 h 298698"/>
                <a:gd name="connsiteX65" fmla="*/ 1109066 w 1254307"/>
                <a:gd name="connsiteY65" fmla="*/ 187324 h 298698"/>
                <a:gd name="connsiteX66" fmla="*/ 1110183 w 1254307"/>
                <a:gd name="connsiteY66" fmla="*/ 186207 h 298698"/>
                <a:gd name="connsiteX67" fmla="*/ 1134762 w 1254307"/>
                <a:gd name="connsiteY67" fmla="*/ 177641 h 298698"/>
                <a:gd name="connsiteX68" fmla="*/ 1043148 w 1254307"/>
                <a:gd name="connsiteY68" fmla="*/ 177641 h 298698"/>
                <a:gd name="connsiteX69" fmla="*/ 1068845 w 1254307"/>
                <a:gd name="connsiteY69" fmla="*/ 186207 h 298698"/>
                <a:gd name="connsiteX70" fmla="*/ 1074804 w 1254307"/>
                <a:gd name="connsiteY70" fmla="*/ 211531 h 298698"/>
                <a:gd name="connsiteX71" fmla="*/ 1074804 w 1254307"/>
                <a:gd name="connsiteY71" fmla="*/ 262924 h 298698"/>
                <a:gd name="connsiteX72" fmla="*/ 1059907 w 1254307"/>
                <a:gd name="connsiteY72" fmla="*/ 262924 h 298698"/>
                <a:gd name="connsiteX73" fmla="*/ 1059907 w 1254307"/>
                <a:gd name="connsiteY73" fmla="*/ 255848 h 298698"/>
                <a:gd name="connsiteX74" fmla="*/ 1058790 w 1254307"/>
                <a:gd name="connsiteY74" fmla="*/ 256593 h 298698"/>
                <a:gd name="connsiteX75" fmla="*/ 1034583 w 1254307"/>
                <a:gd name="connsiteY75" fmla="*/ 264414 h 298698"/>
                <a:gd name="connsiteX76" fmla="*/ 1008514 w 1254307"/>
                <a:gd name="connsiteY76" fmla="*/ 238717 h 298698"/>
                <a:gd name="connsiteX77" fmla="*/ 1055066 w 1254307"/>
                <a:gd name="connsiteY77" fmla="*/ 210041 h 298698"/>
                <a:gd name="connsiteX78" fmla="*/ 1058790 w 1254307"/>
                <a:gd name="connsiteY78" fmla="*/ 210041 h 298698"/>
                <a:gd name="connsiteX79" fmla="*/ 1058790 w 1254307"/>
                <a:gd name="connsiteY79" fmla="*/ 205945 h 298698"/>
                <a:gd name="connsiteX80" fmla="*/ 1055810 w 1254307"/>
                <a:gd name="connsiteY80" fmla="*/ 194772 h 298698"/>
                <a:gd name="connsiteX81" fmla="*/ 1041659 w 1254307"/>
                <a:gd name="connsiteY81" fmla="*/ 190676 h 298698"/>
                <a:gd name="connsiteX82" fmla="*/ 1019314 w 1254307"/>
                <a:gd name="connsiteY82" fmla="*/ 197007 h 298698"/>
                <a:gd name="connsiteX83" fmla="*/ 1013355 w 1254307"/>
                <a:gd name="connsiteY83" fmla="*/ 186207 h 298698"/>
                <a:gd name="connsiteX84" fmla="*/ 1043148 w 1254307"/>
                <a:gd name="connsiteY84" fmla="*/ 177641 h 298698"/>
                <a:gd name="connsiteX85" fmla="*/ 851356 w 1254307"/>
                <a:gd name="connsiteY85" fmla="*/ 177641 h 298698"/>
                <a:gd name="connsiteX86" fmla="*/ 891204 w 1254307"/>
                <a:gd name="connsiteY86" fmla="*/ 220469 h 298698"/>
                <a:gd name="connsiteX87" fmla="*/ 849866 w 1254307"/>
                <a:gd name="connsiteY87" fmla="*/ 264413 h 298698"/>
                <a:gd name="connsiteX88" fmla="*/ 810018 w 1254307"/>
                <a:gd name="connsiteY88" fmla="*/ 221586 h 298698"/>
                <a:gd name="connsiteX89" fmla="*/ 851356 w 1254307"/>
                <a:gd name="connsiteY89" fmla="*/ 177641 h 298698"/>
                <a:gd name="connsiteX90" fmla="*/ 761604 w 1254307"/>
                <a:gd name="connsiteY90" fmla="*/ 177641 h 298698"/>
                <a:gd name="connsiteX91" fmla="*/ 793631 w 1254307"/>
                <a:gd name="connsiteY91" fmla="*/ 185834 h 298698"/>
                <a:gd name="connsiteX92" fmla="*/ 793631 w 1254307"/>
                <a:gd name="connsiteY92" fmla="*/ 259200 h 298698"/>
                <a:gd name="connsiteX93" fmla="*/ 785438 w 1254307"/>
                <a:gd name="connsiteY93" fmla="*/ 288248 h 298698"/>
                <a:gd name="connsiteX94" fmla="*/ 756390 w 1254307"/>
                <a:gd name="connsiteY94" fmla="*/ 298675 h 298698"/>
                <a:gd name="connsiteX95" fmla="*/ 721756 w 1254307"/>
                <a:gd name="connsiteY95" fmla="*/ 287503 h 298698"/>
                <a:gd name="connsiteX96" fmla="*/ 728832 w 1254307"/>
                <a:gd name="connsiteY96" fmla="*/ 276331 h 298698"/>
                <a:gd name="connsiteX97" fmla="*/ 754528 w 1254307"/>
                <a:gd name="connsiteY97" fmla="*/ 284524 h 298698"/>
                <a:gd name="connsiteX98" fmla="*/ 770914 w 1254307"/>
                <a:gd name="connsiteY98" fmla="*/ 279682 h 298698"/>
                <a:gd name="connsiteX99" fmla="*/ 776873 w 1254307"/>
                <a:gd name="connsiteY99" fmla="*/ 259944 h 298698"/>
                <a:gd name="connsiteX100" fmla="*/ 776873 w 1254307"/>
                <a:gd name="connsiteY100" fmla="*/ 256220 h 298698"/>
                <a:gd name="connsiteX101" fmla="*/ 775756 w 1254307"/>
                <a:gd name="connsiteY101" fmla="*/ 256965 h 298698"/>
                <a:gd name="connsiteX102" fmla="*/ 775011 w 1254307"/>
                <a:gd name="connsiteY102" fmla="*/ 257338 h 298698"/>
                <a:gd name="connsiteX103" fmla="*/ 754901 w 1254307"/>
                <a:gd name="connsiteY103" fmla="*/ 262551 h 298698"/>
                <a:gd name="connsiteX104" fmla="*/ 718404 w 1254307"/>
                <a:gd name="connsiteY104" fmla="*/ 221958 h 298698"/>
                <a:gd name="connsiteX105" fmla="*/ 761604 w 1254307"/>
                <a:gd name="connsiteY105" fmla="*/ 177641 h 298698"/>
                <a:gd name="connsiteX106" fmla="*/ 706487 w 1254307"/>
                <a:gd name="connsiteY106" fmla="*/ 177641 h 298698"/>
                <a:gd name="connsiteX107" fmla="*/ 714680 w 1254307"/>
                <a:gd name="connsiteY107" fmla="*/ 179131 h 298698"/>
                <a:gd name="connsiteX108" fmla="*/ 710583 w 1254307"/>
                <a:gd name="connsiteY108" fmla="*/ 192538 h 298698"/>
                <a:gd name="connsiteX109" fmla="*/ 705370 w 1254307"/>
                <a:gd name="connsiteY109" fmla="*/ 192165 h 298698"/>
                <a:gd name="connsiteX110" fmla="*/ 680418 w 1254307"/>
                <a:gd name="connsiteY110" fmla="*/ 205572 h 298698"/>
                <a:gd name="connsiteX111" fmla="*/ 680418 w 1254307"/>
                <a:gd name="connsiteY111" fmla="*/ 262551 h 298698"/>
                <a:gd name="connsiteX112" fmla="*/ 663287 w 1254307"/>
                <a:gd name="connsiteY112" fmla="*/ 262551 h 298698"/>
                <a:gd name="connsiteX113" fmla="*/ 663287 w 1254307"/>
                <a:gd name="connsiteY113" fmla="*/ 180248 h 298698"/>
                <a:gd name="connsiteX114" fmla="*/ 678184 w 1254307"/>
                <a:gd name="connsiteY114" fmla="*/ 180248 h 298698"/>
                <a:gd name="connsiteX115" fmla="*/ 678184 w 1254307"/>
                <a:gd name="connsiteY115" fmla="*/ 192910 h 298698"/>
                <a:gd name="connsiteX116" fmla="*/ 679673 w 1254307"/>
                <a:gd name="connsiteY116" fmla="*/ 190303 h 298698"/>
                <a:gd name="connsiteX117" fmla="*/ 706487 w 1254307"/>
                <a:gd name="connsiteY117" fmla="*/ 177641 h 298698"/>
                <a:gd name="connsiteX118" fmla="*/ 611521 w 1254307"/>
                <a:gd name="connsiteY118" fmla="*/ 177641 h 298698"/>
                <a:gd name="connsiteX119" fmla="*/ 646900 w 1254307"/>
                <a:gd name="connsiteY119" fmla="*/ 220096 h 298698"/>
                <a:gd name="connsiteX120" fmla="*/ 646528 w 1254307"/>
                <a:gd name="connsiteY120" fmla="*/ 224565 h 298698"/>
                <a:gd name="connsiteX121" fmla="*/ 646528 w 1254307"/>
                <a:gd name="connsiteY121" fmla="*/ 226055 h 298698"/>
                <a:gd name="connsiteX122" fmla="*/ 589549 w 1254307"/>
                <a:gd name="connsiteY122" fmla="*/ 226055 h 298698"/>
                <a:gd name="connsiteX123" fmla="*/ 589549 w 1254307"/>
                <a:gd name="connsiteY123" fmla="*/ 226800 h 298698"/>
                <a:gd name="connsiteX124" fmla="*/ 589549 w 1254307"/>
                <a:gd name="connsiteY124" fmla="*/ 228662 h 298698"/>
                <a:gd name="connsiteX125" fmla="*/ 614128 w 1254307"/>
                <a:gd name="connsiteY125" fmla="*/ 250634 h 298698"/>
                <a:gd name="connsiteX126" fmla="*/ 636845 w 1254307"/>
                <a:gd name="connsiteY126" fmla="*/ 244675 h 298698"/>
                <a:gd name="connsiteX127" fmla="*/ 642804 w 1254307"/>
                <a:gd name="connsiteY127" fmla="*/ 255848 h 298698"/>
                <a:gd name="connsiteX128" fmla="*/ 612638 w 1254307"/>
                <a:gd name="connsiteY128" fmla="*/ 264413 h 298698"/>
                <a:gd name="connsiteX129" fmla="*/ 572790 w 1254307"/>
                <a:gd name="connsiteY129" fmla="*/ 221586 h 298698"/>
                <a:gd name="connsiteX130" fmla="*/ 611521 w 1254307"/>
                <a:gd name="connsiteY130" fmla="*/ 177641 h 298698"/>
                <a:gd name="connsiteX131" fmla="*/ 372060 w 1254307"/>
                <a:gd name="connsiteY131" fmla="*/ 164979 h 298698"/>
                <a:gd name="connsiteX132" fmla="*/ 339287 w 1254307"/>
                <a:gd name="connsiteY132" fmla="*/ 208179 h 298698"/>
                <a:gd name="connsiteX133" fmla="*/ 373177 w 1254307"/>
                <a:gd name="connsiteY133" fmla="*/ 250262 h 298698"/>
                <a:gd name="connsiteX134" fmla="*/ 406322 w 1254307"/>
                <a:gd name="connsiteY134" fmla="*/ 206689 h 298698"/>
                <a:gd name="connsiteX135" fmla="*/ 372060 w 1254307"/>
                <a:gd name="connsiteY135" fmla="*/ 164979 h 298698"/>
                <a:gd name="connsiteX136" fmla="*/ 915038 w 1254307"/>
                <a:gd name="connsiteY136" fmla="*/ 156041 h 298698"/>
                <a:gd name="connsiteX137" fmla="*/ 932541 w 1254307"/>
                <a:gd name="connsiteY137" fmla="*/ 156041 h 298698"/>
                <a:gd name="connsiteX138" fmla="*/ 932541 w 1254307"/>
                <a:gd name="connsiteY138" fmla="*/ 180248 h 298698"/>
                <a:gd name="connsiteX139" fmla="*/ 957121 w 1254307"/>
                <a:gd name="connsiteY139" fmla="*/ 180248 h 298698"/>
                <a:gd name="connsiteX140" fmla="*/ 957121 w 1254307"/>
                <a:gd name="connsiteY140" fmla="*/ 194027 h 298698"/>
                <a:gd name="connsiteX141" fmla="*/ 932541 w 1254307"/>
                <a:gd name="connsiteY141" fmla="*/ 194027 h 298698"/>
                <a:gd name="connsiteX142" fmla="*/ 932541 w 1254307"/>
                <a:gd name="connsiteY142" fmla="*/ 234248 h 298698"/>
                <a:gd name="connsiteX143" fmla="*/ 944459 w 1254307"/>
                <a:gd name="connsiteY143" fmla="*/ 250262 h 298698"/>
                <a:gd name="connsiteX144" fmla="*/ 955259 w 1254307"/>
                <a:gd name="connsiteY144" fmla="*/ 248027 h 298698"/>
                <a:gd name="connsiteX145" fmla="*/ 959728 w 1254307"/>
                <a:gd name="connsiteY145" fmla="*/ 259944 h 298698"/>
                <a:gd name="connsiteX146" fmla="*/ 940735 w 1254307"/>
                <a:gd name="connsiteY146" fmla="*/ 264786 h 298698"/>
                <a:gd name="connsiteX147" fmla="*/ 920997 w 1254307"/>
                <a:gd name="connsiteY147" fmla="*/ 258082 h 298698"/>
                <a:gd name="connsiteX148" fmla="*/ 915038 w 1254307"/>
                <a:gd name="connsiteY148" fmla="*/ 234248 h 298698"/>
                <a:gd name="connsiteX149" fmla="*/ 915038 w 1254307"/>
                <a:gd name="connsiteY149" fmla="*/ 194027 h 298698"/>
                <a:gd name="connsiteX150" fmla="*/ 900514 w 1254307"/>
                <a:gd name="connsiteY150" fmla="*/ 194027 h 298698"/>
                <a:gd name="connsiteX151" fmla="*/ 900514 w 1254307"/>
                <a:gd name="connsiteY151" fmla="*/ 180248 h 298698"/>
                <a:gd name="connsiteX152" fmla="*/ 915038 w 1254307"/>
                <a:gd name="connsiteY152" fmla="*/ 180248 h 298698"/>
                <a:gd name="connsiteX153" fmla="*/ 519163 w 1254307"/>
                <a:gd name="connsiteY153" fmla="*/ 156041 h 298698"/>
                <a:gd name="connsiteX154" fmla="*/ 536667 w 1254307"/>
                <a:gd name="connsiteY154" fmla="*/ 156041 h 298698"/>
                <a:gd name="connsiteX155" fmla="*/ 536667 w 1254307"/>
                <a:gd name="connsiteY155" fmla="*/ 180248 h 298698"/>
                <a:gd name="connsiteX156" fmla="*/ 561246 w 1254307"/>
                <a:gd name="connsiteY156" fmla="*/ 180248 h 298698"/>
                <a:gd name="connsiteX157" fmla="*/ 561246 w 1254307"/>
                <a:gd name="connsiteY157" fmla="*/ 194027 h 298698"/>
                <a:gd name="connsiteX158" fmla="*/ 536667 w 1254307"/>
                <a:gd name="connsiteY158" fmla="*/ 194027 h 298698"/>
                <a:gd name="connsiteX159" fmla="*/ 536667 w 1254307"/>
                <a:gd name="connsiteY159" fmla="*/ 234248 h 298698"/>
                <a:gd name="connsiteX160" fmla="*/ 548956 w 1254307"/>
                <a:gd name="connsiteY160" fmla="*/ 250262 h 298698"/>
                <a:gd name="connsiteX161" fmla="*/ 559756 w 1254307"/>
                <a:gd name="connsiteY161" fmla="*/ 248027 h 298698"/>
                <a:gd name="connsiteX162" fmla="*/ 564225 w 1254307"/>
                <a:gd name="connsiteY162" fmla="*/ 259944 h 298698"/>
                <a:gd name="connsiteX163" fmla="*/ 544860 w 1254307"/>
                <a:gd name="connsiteY163" fmla="*/ 264786 h 298698"/>
                <a:gd name="connsiteX164" fmla="*/ 525122 w 1254307"/>
                <a:gd name="connsiteY164" fmla="*/ 258082 h 298698"/>
                <a:gd name="connsiteX165" fmla="*/ 519163 w 1254307"/>
                <a:gd name="connsiteY165" fmla="*/ 234248 h 298698"/>
                <a:gd name="connsiteX166" fmla="*/ 519163 w 1254307"/>
                <a:gd name="connsiteY166" fmla="*/ 194027 h 298698"/>
                <a:gd name="connsiteX167" fmla="*/ 504639 w 1254307"/>
                <a:gd name="connsiteY167" fmla="*/ 194027 h 298698"/>
                <a:gd name="connsiteX168" fmla="*/ 504639 w 1254307"/>
                <a:gd name="connsiteY168" fmla="*/ 180248 h 298698"/>
                <a:gd name="connsiteX169" fmla="*/ 519163 w 1254307"/>
                <a:gd name="connsiteY169" fmla="*/ 180248 h 298698"/>
                <a:gd name="connsiteX170" fmla="*/ 976114 w 1254307"/>
                <a:gd name="connsiteY170" fmla="*/ 150828 h 298698"/>
                <a:gd name="connsiteX171" fmla="*/ 993617 w 1254307"/>
                <a:gd name="connsiteY171" fmla="*/ 150828 h 298698"/>
                <a:gd name="connsiteX172" fmla="*/ 993617 w 1254307"/>
                <a:gd name="connsiteY172" fmla="*/ 262552 h 298698"/>
                <a:gd name="connsiteX173" fmla="*/ 976114 w 1254307"/>
                <a:gd name="connsiteY173" fmla="*/ 262552 h 298698"/>
                <a:gd name="connsiteX174" fmla="*/ 866252 w 1254307"/>
                <a:gd name="connsiteY174" fmla="*/ 150828 h 298698"/>
                <a:gd name="connsiteX175" fmla="*/ 875935 w 1254307"/>
                <a:gd name="connsiteY175" fmla="*/ 160883 h 298698"/>
                <a:gd name="connsiteX176" fmla="*/ 866252 w 1254307"/>
                <a:gd name="connsiteY176" fmla="*/ 170566 h 298698"/>
                <a:gd name="connsiteX177" fmla="*/ 856569 w 1254307"/>
                <a:gd name="connsiteY177" fmla="*/ 160511 h 298698"/>
                <a:gd name="connsiteX178" fmla="*/ 866252 w 1254307"/>
                <a:gd name="connsiteY178" fmla="*/ 150828 h 298698"/>
                <a:gd name="connsiteX179" fmla="*/ 834597 w 1254307"/>
                <a:gd name="connsiteY179" fmla="*/ 150828 h 298698"/>
                <a:gd name="connsiteX180" fmla="*/ 844652 w 1254307"/>
                <a:gd name="connsiteY180" fmla="*/ 160511 h 298698"/>
                <a:gd name="connsiteX181" fmla="*/ 834969 w 1254307"/>
                <a:gd name="connsiteY181" fmla="*/ 170566 h 298698"/>
                <a:gd name="connsiteX182" fmla="*/ 824914 w 1254307"/>
                <a:gd name="connsiteY182" fmla="*/ 160883 h 298698"/>
                <a:gd name="connsiteX183" fmla="*/ 834597 w 1254307"/>
                <a:gd name="connsiteY183" fmla="*/ 150828 h 298698"/>
                <a:gd name="connsiteX184" fmla="*/ 1254307 w 1254307"/>
                <a:gd name="connsiteY184" fmla="*/ 150455 h 298698"/>
                <a:gd name="connsiteX185" fmla="*/ 1254307 w 1254307"/>
                <a:gd name="connsiteY185" fmla="*/ 262179 h 298698"/>
                <a:gd name="connsiteX186" fmla="*/ 1239410 w 1254307"/>
                <a:gd name="connsiteY186" fmla="*/ 262179 h 298698"/>
                <a:gd name="connsiteX187" fmla="*/ 1239410 w 1254307"/>
                <a:gd name="connsiteY187" fmla="*/ 255476 h 298698"/>
                <a:gd name="connsiteX188" fmla="*/ 1237921 w 1254307"/>
                <a:gd name="connsiteY188" fmla="*/ 256593 h 298698"/>
                <a:gd name="connsiteX189" fmla="*/ 1215576 w 1254307"/>
                <a:gd name="connsiteY189" fmla="*/ 264414 h 298698"/>
                <a:gd name="connsiteX190" fmla="*/ 1178707 w 1254307"/>
                <a:gd name="connsiteY190" fmla="*/ 222331 h 298698"/>
                <a:gd name="connsiteX191" fmla="*/ 1218555 w 1254307"/>
                <a:gd name="connsiteY191" fmla="*/ 177641 h 298698"/>
                <a:gd name="connsiteX192" fmla="*/ 1235686 w 1254307"/>
                <a:gd name="connsiteY192" fmla="*/ 181738 h 298698"/>
                <a:gd name="connsiteX193" fmla="*/ 1236804 w 1254307"/>
                <a:gd name="connsiteY193" fmla="*/ 182483 h 298698"/>
                <a:gd name="connsiteX194" fmla="*/ 1236804 w 1254307"/>
                <a:gd name="connsiteY194" fmla="*/ 181365 h 298698"/>
                <a:gd name="connsiteX195" fmla="*/ 1236804 w 1254307"/>
                <a:gd name="connsiteY195" fmla="*/ 150827 h 298698"/>
                <a:gd name="connsiteX196" fmla="*/ 373177 w 1254307"/>
                <a:gd name="connsiteY196" fmla="*/ 150455 h 298698"/>
                <a:gd name="connsiteX197" fmla="*/ 424942 w 1254307"/>
                <a:gd name="connsiteY197" fmla="*/ 206689 h 298698"/>
                <a:gd name="connsiteX198" fmla="*/ 372804 w 1254307"/>
                <a:gd name="connsiteY198" fmla="*/ 264786 h 298698"/>
                <a:gd name="connsiteX199" fmla="*/ 321039 w 1254307"/>
                <a:gd name="connsiteY199" fmla="*/ 207434 h 298698"/>
                <a:gd name="connsiteX200" fmla="*/ 373177 w 1254307"/>
                <a:gd name="connsiteY200" fmla="*/ 150455 h 298698"/>
                <a:gd name="connsiteX201" fmla="*/ 388446 w 1254307"/>
                <a:gd name="connsiteY201" fmla="*/ 123269 h 298698"/>
                <a:gd name="connsiteX202" fmla="*/ 397756 w 1254307"/>
                <a:gd name="connsiteY202" fmla="*/ 133697 h 298698"/>
                <a:gd name="connsiteX203" fmla="*/ 388446 w 1254307"/>
                <a:gd name="connsiteY203" fmla="*/ 143007 h 298698"/>
                <a:gd name="connsiteX204" fmla="*/ 379135 w 1254307"/>
                <a:gd name="connsiteY204" fmla="*/ 132579 h 298698"/>
                <a:gd name="connsiteX205" fmla="*/ 388446 w 1254307"/>
                <a:gd name="connsiteY205" fmla="*/ 123269 h 298698"/>
                <a:gd name="connsiteX206" fmla="*/ 357163 w 1254307"/>
                <a:gd name="connsiteY206" fmla="*/ 123269 h 298698"/>
                <a:gd name="connsiteX207" fmla="*/ 367218 w 1254307"/>
                <a:gd name="connsiteY207" fmla="*/ 132952 h 298698"/>
                <a:gd name="connsiteX208" fmla="*/ 367218 w 1254307"/>
                <a:gd name="connsiteY208" fmla="*/ 133324 h 298698"/>
                <a:gd name="connsiteX209" fmla="*/ 357535 w 1254307"/>
                <a:gd name="connsiteY209" fmla="*/ 143007 h 298698"/>
                <a:gd name="connsiteX210" fmla="*/ 347480 w 1254307"/>
                <a:gd name="connsiteY210" fmla="*/ 133324 h 298698"/>
                <a:gd name="connsiteX211" fmla="*/ 357163 w 1254307"/>
                <a:gd name="connsiteY211" fmla="*/ 123269 h 298698"/>
                <a:gd name="connsiteX212" fmla="*/ 465535 w 1254307"/>
                <a:gd name="connsiteY212" fmla="*/ 61820 h 298698"/>
                <a:gd name="connsiteX213" fmla="*/ 450266 w 1254307"/>
                <a:gd name="connsiteY213" fmla="*/ 79324 h 298698"/>
                <a:gd name="connsiteX214" fmla="*/ 464045 w 1254307"/>
                <a:gd name="connsiteY214" fmla="*/ 95710 h 298698"/>
                <a:gd name="connsiteX215" fmla="*/ 474845 w 1254307"/>
                <a:gd name="connsiteY215" fmla="*/ 91986 h 298698"/>
                <a:gd name="connsiteX216" fmla="*/ 474845 w 1254307"/>
                <a:gd name="connsiteY216" fmla="*/ 63683 h 298698"/>
                <a:gd name="connsiteX217" fmla="*/ 474473 w 1254307"/>
                <a:gd name="connsiteY217" fmla="*/ 63683 h 298698"/>
                <a:gd name="connsiteX218" fmla="*/ 465535 w 1254307"/>
                <a:gd name="connsiteY218" fmla="*/ 61820 h 298698"/>
                <a:gd name="connsiteX219" fmla="*/ 546721 w 1254307"/>
                <a:gd name="connsiteY219" fmla="*/ 61448 h 298698"/>
                <a:gd name="connsiteX220" fmla="*/ 532942 w 1254307"/>
                <a:gd name="connsiteY220" fmla="*/ 78952 h 298698"/>
                <a:gd name="connsiteX221" fmla="*/ 547094 w 1254307"/>
                <a:gd name="connsiteY221" fmla="*/ 96828 h 298698"/>
                <a:gd name="connsiteX222" fmla="*/ 560873 w 1254307"/>
                <a:gd name="connsiteY222" fmla="*/ 79324 h 298698"/>
                <a:gd name="connsiteX223" fmla="*/ 546721 w 1254307"/>
                <a:gd name="connsiteY223" fmla="*/ 61448 h 298698"/>
                <a:gd name="connsiteX224" fmla="*/ 409301 w 1254307"/>
                <a:gd name="connsiteY224" fmla="*/ 61076 h 298698"/>
                <a:gd name="connsiteX225" fmla="*/ 395894 w 1254307"/>
                <a:gd name="connsiteY225" fmla="*/ 74483 h 298698"/>
                <a:gd name="connsiteX226" fmla="*/ 395894 w 1254307"/>
                <a:gd name="connsiteY226" fmla="*/ 75228 h 298698"/>
                <a:gd name="connsiteX227" fmla="*/ 420474 w 1254307"/>
                <a:gd name="connsiteY227" fmla="*/ 75228 h 298698"/>
                <a:gd name="connsiteX228" fmla="*/ 420474 w 1254307"/>
                <a:gd name="connsiteY228" fmla="*/ 74483 h 298698"/>
                <a:gd name="connsiteX229" fmla="*/ 409301 w 1254307"/>
                <a:gd name="connsiteY229" fmla="*/ 61076 h 298698"/>
                <a:gd name="connsiteX230" fmla="*/ 500170 w 1254307"/>
                <a:gd name="connsiteY230" fmla="*/ 57724 h 298698"/>
                <a:gd name="connsiteX231" fmla="*/ 509853 w 1254307"/>
                <a:gd name="connsiteY231" fmla="*/ 57724 h 298698"/>
                <a:gd name="connsiteX232" fmla="*/ 509853 w 1254307"/>
                <a:gd name="connsiteY232" fmla="*/ 103531 h 298698"/>
                <a:gd name="connsiteX233" fmla="*/ 500170 w 1254307"/>
                <a:gd name="connsiteY233" fmla="*/ 103531 h 298698"/>
                <a:gd name="connsiteX234" fmla="*/ 606680 w 1254307"/>
                <a:gd name="connsiteY234" fmla="*/ 54000 h 298698"/>
                <a:gd name="connsiteX235" fmla="*/ 618597 w 1254307"/>
                <a:gd name="connsiteY235" fmla="*/ 58469 h 298698"/>
                <a:gd name="connsiteX236" fmla="*/ 623439 w 1254307"/>
                <a:gd name="connsiteY236" fmla="*/ 76345 h 298698"/>
                <a:gd name="connsiteX237" fmla="*/ 623439 w 1254307"/>
                <a:gd name="connsiteY237" fmla="*/ 103904 h 298698"/>
                <a:gd name="connsiteX238" fmla="*/ 614128 w 1254307"/>
                <a:gd name="connsiteY238" fmla="*/ 103904 h 298698"/>
                <a:gd name="connsiteX239" fmla="*/ 614128 w 1254307"/>
                <a:gd name="connsiteY239" fmla="*/ 103531 h 298698"/>
                <a:gd name="connsiteX240" fmla="*/ 614128 w 1254307"/>
                <a:gd name="connsiteY240" fmla="*/ 77090 h 298698"/>
                <a:gd name="connsiteX241" fmla="*/ 611521 w 1254307"/>
                <a:gd name="connsiteY241" fmla="*/ 64428 h 298698"/>
                <a:gd name="connsiteX242" fmla="*/ 604818 w 1254307"/>
                <a:gd name="connsiteY242" fmla="*/ 62193 h 298698"/>
                <a:gd name="connsiteX243" fmla="*/ 593273 w 1254307"/>
                <a:gd name="connsiteY243" fmla="*/ 65917 h 298698"/>
                <a:gd name="connsiteX244" fmla="*/ 592901 w 1254307"/>
                <a:gd name="connsiteY244" fmla="*/ 65917 h 298698"/>
                <a:gd name="connsiteX245" fmla="*/ 592901 w 1254307"/>
                <a:gd name="connsiteY245" fmla="*/ 103531 h 298698"/>
                <a:gd name="connsiteX246" fmla="*/ 583218 w 1254307"/>
                <a:gd name="connsiteY246" fmla="*/ 103531 h 298698"/>
                <a:gd name="connsiteX247" fmla="*/ 583218 w 1254307"/>
                <a:gd name="connsiteY247" fmla="*/ 55490 h 298698"/>
                <a:gd name="connsiteX248" fmla="*/ 591411 w 1254307"/>
                <a:gd name="connsiteY248" fmla="*/ 55490 h 298698"/>
                <a:gd name="connsiteX249" fmla="*/ 591411 w 1254307"/>
                <a:gd name="connsiteY249" fmla="*/ 59586 h 298698"/>
                <a:gd name="connsiteX250" fmla="*/ 592528 w 1254307"/>
                <a:gd name="connsiteY250" fmla="*/ 58842 h 298698"/>
                <a:gd name="connsiteX251" fmla="*/ 606680 w 1254307"/>
                <a:gd name="connsiteY251" fmla="*/ 54000 h 298698"/>
                <a:gd name="connsiteX252" fmla="*/ 547094 w 1254307"/>
                <a:gd name="connsiteY252" fmla="*/ 54000 h 298698"/>
                <a:gd name="connsiteX253" fmla="*/ 570183 w 1254307"/>
                <a:gd name="connsiteY253" fmla="*/ 79324 h 298698"/>
                <a:gd name="connsiteX254" fmla="*/ 545977 w 1254307"/>
                <a:gd name="connsiteY254" fmla="*/ 105021 h 298698"/>
                <a:gd name="connsiteX255" fmla="*/ 522887 w 1254307"/>
                <a:gd name="connsiteY255" fmla="*/ 79697 h 298698"/>
                <a:gd name="connsiteX256" fmla="*/ 547094 w 1254307"/>
                <a:gd name="connsiteY256" fmla="*/ 54000 h 298698"/>
                <a:gd name="connsiteX257" fmla="*/ 409301 w 1254307"/>
                <a:gd name="connsiteY257" fmla="*/ 54000 h 298698"/>
                <a:gd name="connsiteX258" fmla="*/ 429412 w 1254307"/>
                <a:gd name="connsiteY258" fmla="*/ 78579 h 298698"/>
                <a:gd name="connsiteX259" fmla="*/ 429412 w 1254307"/>
                <a:gd name="connsiteY259" fmla="*/ 81186 h 298698"/>
                <a:gd name="connsiteX260" fmla="*/ 429412 w 1254307"/>
                <a:gd name="connsiteY260" fmla="*/ 81931 h 298698"/>
                <a:gd name="connsiteX261" fmla="*/ 395894 w 1254307"/>
                <a:gd name="connsiteY261" fmla="*/ 81931 h 298698"/>
                <a:gd name="connsiteX262" fmla="*/ 395894 w 1254307"/>
                <a:gd name="connsiteY262" fmla="*/ 82676 h 298698"/>
                <a:gd name="connsiteX263" fmla="*/ 395894 w 1254307"/>
                <a:gd name="connsiteY263" fmla="*/ 84166 h 298698"/>
                <a:gd name="connsiteX264" fmla="*/ 410791 w 1254307"/>
                <a:gd name="connsiteY264" fmla="*/ 97200 h 298698"/>
                <a:gd name="connsiteX265" fmla="*/ 424198 w 1254307"/>
                <a:gd name="connsiteY265" fmla="*/ 93476 h 298698"/>
                <a:gd name="connsiteX266" fmla="*/ 427549 w 1254307"/>
                <a:gd name="connsiteY266" fmla="*/ 99807 h 298698"/>
                <a:gd name="connsiteX267" fmla="*/ 410046 w 1254307"/>
                <a:gd name="connsiteY267" fmla="*/ 104648 h 298698"/>
                <a:gd name="connsiteX268" fmla="*/ 386584 w 1254307"/>
                <a:gd name="connsiteY268" fmla="*/ 79697 h 298698"/>
                <a:gd name="connsiteX269" fmla="*/ 409301 w 1254307"/>
                <a:gd name="connsiteY269" fmla="*/ 54000 h 298698"/>
                <a:gd name="connsiteX270" fmla="*/ 465907 w 1254307"/>
                <a:gd name="connsiteY270" fmla="*/ 53627 h 298698"/>
                <a:gd name="connsiteX271" fmla="*/ 484528 w 1254307"/>
                <a:gd name="connsiteY271" fmla="*/ 58469 h 298698"/>
                <a:gd name="connsiteX272" fmla="*/ 484528 w 1254307"/>
                <a:gd name="connsiteY272" fmla="*/ 103531 h 298698"/>
                <a:gd name="connsiteX273" fmla="*/ 479686 w 1254307"/>
                <a:gd name="connsiteY273" fmla="*/ 120662 h 298698"/>
                <a:gd name="connsiteX274" fmla="*/ 462555 w 1254307"/>
                <a:gd name="connsiteY274" fmla="*/ 126620 h 298698"/>
                <a:gd name="connsiteX275" fmla="*/ 442445 w 1254307"/>
                <a:gd name="connsiteY275" fmla="*/ 120289 h 298698"/>
                <a:gd name="connsiteX276" fmla="*/ 446542 w 1254307"/>
                <a:gd name="connsiteY276" fmla="*/ 113958 h 298698"/>
                <a:gd name="connsiteX277" fmla="*/ 461438 w 1254307"/>
                <a:gd name="connsiteY277" fmla="*/ 119172 h 298698"/>
                <a:gd name="connsiteX278" fmla="*/ 471121 w 1254307"/>
                <a:gd name="connsiteY278" fmla="*/ 115448 h 298698"/>
                <a:gd name="connsiteX279" fmla="*/ 474845 w 1254307"/>
                <a:gd name="connsiteY279" fmla="*/ 103531 h 298698"/>
                <a:gd name="connsiteX280" fmla="*/ 474845 w 1254307"/>
                <a:gd name="connsiteY280" fmla="*/ 99807 h 298698"/>
                <a:gd name="connsiteX281" fmla="*/ 473728 w 1254307"/>
                <a:gd name="connsiteY281" fmla="*/ 100179 h 298698"/>
                <a:gd name="connsiteX282" fmla="*/ 473355 w 1254307"/>
                <a:gd name="connsiteY282" fmla="*/ 100551 h 298698"/>
                <a:gd name="connsiteX283" fmla="*/ 461811 w 1254307"/>
                <a:gd name="connsiteY283" fmla="*/ 103531 h 298698"/>
                <a:gd name="connsiteX284" fmla="*/ 440583 w 1254307"/>
                <a:gd name="connsiteY284" fmla="*/ 79696 h 298698"/>
                <a:gd name="connsiteX285" fmla="*/ 440583 w 1254307"/>
                <a:gd name="connsiteY285" fmla="*/ 77834 h 298698"/>
                <a:gd name="connsiteX286" fmla="*/ 465907 w 1254307"/>
                <a:gd name="connsiteY286" fmla="*/ 53627 h 298698"/>
                <a:gd name="connsiteX287" fmla="*/ 342267 w 1254307"/>
                <a:gd name="connsiteY287" fmla="*/ 45807 h 298698"/>
                <a:gd name="connsiteX288" fmla="*/ 342267 w 1254307"/>
                <a:gd name="connsiteY288" fmla="*/ 68152 h 298698"/>
                <a:gd name="connsiteX289" fmla="*/ 347480 w 1254307"/>
                <a:gd name="connsiteY289" fmla="*/ 68152 h 298698"/>
                <a:gd name="connsiteX290" fmla="*/ 360887 w 1254307"/>
                <a:gd name="connsiteY290" fmla="*/ 64800 h 298698"/>
                <a:gd name="connsiteX291" fmla="*/ 361260 w 1254307"/>
                <a:gd name="connsiteY291" fmla="*/ 48786 h 298698"/>
                <a:gd name="connsiteX292" fmla="*/ 350832 w 1254307"/>
                <a:gd name="connsiteY292" fmla="*/ 45807 h 298698"/>
                <a:gd name="connsiteX293" fmla="*/ 505011 w 1254307"/>
                <a:gd name="connsiteY293" fmla="*/ 37986 h 298698"/>
                <a:gd name="connsiteX294" fmla="*/ 510969 w 1254307"/>
                <a:gd name="connsiteY294" fmla="*/ 43945 h 298698"/>
                <a:gd name="connsiteX295" fmla="*/ 505011 w 1254307"/>
                <a:gd name="connsiteY295" fmla="*/ 49531 h 298698"/>
                <a:gd name="connsiteX296" fmla="*/ 499052 w 1254307"/>
                <a:gd name="connsiteY296" fmla="*/ 43945 h 298698"/>
                <a:gd name="connsiteX297" fmla="*/ 505011 w 1254307"/>
                <a:gd name="connsiteY297" fmla="*/ 37986 h 298698"/>
                <a:gd name="connsiteX298" fmla="*/ 331839 w 1254307"/>
                <a:gd name="connsiteY298" fmla="*/ 37614 h 298698"/>
                <a:gd name="connsiteX299" fmla="*/ 348970 w 1254307"/>
                <a:gd name="connsiteY299" fmla="*/ 37614 h 298698"/>
                <a:gd name="connsiteX300" fmla="*/ 368708 w 1254307"/>
                <a:gd name="connsiteY300" fmla="*/ 42828 h 298698"/>
                <a:gd name="connsiteX301" fmla="*/ 373922 w 1254307"/>
                <a:gd name="connsiteY301" fmla="*/ 55862 h 298698"/>
                <a:gd name="connsiteX302" fmla="*/ 369825 w 1254307"/>
                <a:gd name="connsiteY302" fmla="*/ 67407 h 298698"/>
                <a:gd name="connsiteX303" fmla="*/ 359025 w 1254307"/>
                <a:gd name="connsiteY303" fmla="*/ 72621 h 298698"/>
                <a:gd name="connsiteX304" fmla="*/ 365729 w 1254307"/>
                <a:gd name="connsiteY304" fmla="*/ 76345 h 298698"/>
                <a:gd name="connsiteX305" fmla="*/ 370198 w 1254307"/>
                <a:gd name="connsiteY305" fmla="*/ 84538 h 298698"/>
                <a:gd name="connsiteX306" fmla="*/ 378391 w 1254307"/>
                <a:gd name="connsiteY306" fmla="*/ 103531 h 298698"/>
                <a:gd name="connsiteX307" fmla="*/ 367591 w 1254307"/>
                <a:gd name="connsiteY307" fmla="*/ 103531 h 298698"/>
                <a:gd name="connsiteX308" fmla="*/ 359770 w 1254307"/>
                <a:gd name="connsiteY308" fmla="*/ 86028 h 298698"/>
                <a:gd name="connsiteX309" fmla="*/ 345246 w 1254307"/>
                <a:gd name="connsiteY309" fmla="*/ 75973 h 298698"/>
                <a:gd name="connsiteX310" fmla="*/ 341894 w 1254307"/>
                <a:gd name="connsiteY310" fmla="*/ 75973 h 298698"/>
                <a:gd name="connsiteX311" fmla="*/ 341894 w 1254307"/>
                <a:gd name="connsiteY311" fmla="*/ 103531 h 298698"/>
                <a:gd name="connsiteX312" fmla="*/ 331839 w 1254307"/>
                <a:gd name="connsiteY312" fmla="*/ 103531 h 298698"/>
                <a:gd name="connsiteX313" fmla="*/ 131481 w 1254307"/>
                <a:gd name="connsiteY313" fmla="*/ 12290 h 298698"/>
                <a:gd name="connsiteX314" fmla="*/ 113605 w 1254307"/>
                <a:gd name="connsiteY314" fmla="*/ 36869 h 298698"/>
                <a:gd name="connsiteX315" fmla="*/ 96846 w 1254307"/>
                <a:gd name="connsiteY315" fmla="*/ 17876 h 298698"/>
                <a:gd name="connsiteX316" fmla="*/ 92377 w 1254307"/>
                <a:gd name="connsiteY316" fmla="*/ 52883 h 298698"/>
                <a:gd name="connsiteX317" fmla="*/ 60722 w 1254307"/>
                <a:gd name="connsiteY317" fmla="*/ 38731 h 298698"/>
                <a:gd name="connsiteX318" fmla="*/ 67798 w 1254307"/>
                <a:gd name="connsiteY318" fmla="*/ 62938 h 298698"/>
                <a:gd name="connsiteX319" fmla="*/ 38005 w 1254307"/>
                <a:gd name="connsiteY319" fmla="*/ 65917 h 298698"/>
                <a:gd name="connsiteX320" fmla="*/ 64446 w 1254307"/>
                <a:gd name="connsiteY320" fmla="*/ 80069 h 298698"/>
                <a:gd name="connsiteX321" fmla="*/ 90888 w 1254307"/>
                <a:gd name="connsiteY321" fmla="*/ 91614 h 298698"/>
                <a:gd name="connsiteX322" fmla="*/ 134460 w 1254307"/>
                <a:gd name="connsiteY322" fmla="*/ 141145 h 298698"/>
                <a:gd name="connsiteX323" fmla="*/ 69288 w 1254307"/>
                <a:gd name="connsiteY323" fmla="*/ 128483 h 298698"/>
                <a:gd name="connsiteX324" fmla="*/ 45826 w 1254307"/>
                <a:gd name="connsiteY324" fmla="*/ 111352 h 298698"/>
                <a:gd name="connsiteX325" fmla="*/ 20874 w 1254307"/>
                <a:gd name="connsiteY325" fmla="*/ 96083 h 298698"/>
                <a:gd name="connsiteX326" fmla="*/ 32791 w 1254307"/>
                <a:gd name="connsiteY326" fmla="*/ 123641 h 298698"/>
                <a:gd name="connsiteX327" fmla="*/ 8957 w 1254307"/>
                <a:gd name="connsiteY327" fmla="*/ 128483 h 298698"/>
                <a:gd name="connsiteX328" fmla="*/ 37260 w 1254307"/>
                <a:gd name="connsiteY328" fmla="*/ 149710 h 298698"/>
                <a:gd name="connsiteX329" fmla="*/ 8957 w 1254307"/>
                <a:gd name="connsiteY329" fmla="*/ 170938 h 298698"/>
                <a:gd name="connsiteX330" fmla="*/ 32791 w 1254307"/>
                <a:gd name="connsiteY330" fmla="*/ 175779 h 298698"/>
                <a:gd name="connsiteX331" fmla="*/ 20874 w 1254307"/>
                <a:gd name="connsiteY331" fmla="*/ 203338 h 298698"/>
                <a:gd name="connsiteX332" fmla="*/ 45453 w 1254307"/>
                <a:gd name="connsiteY332" fmla="*/ 188069 h 298698"/>
                <a:gd name="connsiteX333" fmla="*/ 68915 w 1254307"/>
                <a:gd name="connsiteY333" fmla="*/ 170566 h 298698"/>
                <a:gd name="connsiteX334" fmla="*/ 134088 w 1254307"/>
                <a:gd name="connsiteY334" fmla="*/ 157903 h 298698"/>
                <a:gd name="connsiteX335" fmla="*/ 90515 w 1254307"/>
                <a:gd name="connsiteY335" fmla="*/ 207434 h 298698"/>
                <a:gd name="connsiteX336" fmla="*/ 64074 w 1254307"/>
                <a:gd name="connsiteY336" fmla="*/ 218979 h 298698"/>
                <a:gd name="connsiteX337" fmla="*/ 37633 w 1254307"/>
                <a:gd name="connsiteY337" fmla="*/ 233131 h 298698"/>
                <a:gd name="connsiteX338" fmla="*/ 67426 w 1254307"/>
                <a:gd name="connsiteY338" fmla="*/ 236110 h 298698"/>
                <a:gd name="connsiteX339" fmla="*/ 58860 w 1254307"/>
                <a:gd name="connsiteY339" fmla="*/ 259572 h 298698"/>
                <a:gd name="connsiteX340" fmla="*/ 91260 w 1254307"/>
                <a:gd name="connsiteY340" fmla="*/ 246166 h 298698"/>
                <a:gd name="connsiteX341" fmla="*/ 96102 w 1254307"/>
                <a:gd name="connsiteY341" fmla="*/ 280800 h 298698"/>
                <a:gd name="connsiteX342" fmla="*/ 112488 w 1254307"/>
                <a:gd name="connsiteY342" fmla="*/ 261807 h 298698"/>
                <a:gd name="connsiteX343" fmla="*/ 130364 w 1254307"/>
                <a:gd name="connsiteY343" fmla="*/ 286386 h 298698"/>
                <a:gd name="connsiteX344" fmla="*/ 129619 w 1254307"/>
                <a:gd name="connsiteY344" fmla="*/ 256593 h 298698"/>
                <a:gd name="connsiteX345" fmla="*/ 126639 w 1254307"/>
                <a:gd name="connsiteY345" fmla="*/ 228290 h 298698"/>
                <a:gd name="connsiteX346" fmla="*/ 147867 w 1254307"/>
                <a:gd name="connsiteY346" fmla="*/ 165724 h 298698"/>
                <a:gd name="connsiteX347" fmla="*/ 169095 w 1254307"/>
                <a:gd name="connsiteY347" fmla="*/ 228290 h 298698"/>
                <a:gd name="connsiteX348" fmla="*/ 166115 w 1254307"/>
                <a:gd name="connsiteY348" fmla="*/ 256593 h 298698"/>
                <a:gd name="connsiteX349" fmla="*/ 165370 w 1254307"/>
                <a:gd name="connsiteY349" fmla="*/ 286386 h 298698"/>
                <a:gd name="connsiteX350" fmla="*/ 183246 w 1254307"/>
                <a:gd name="connsiteY350" fmla="*/ 261807 h 298698"/>
                <a:gd name="connsiteX351" fmla="*/ 199632 w 1254307"/>
                <a:gd name="connsiteY351" fmla="*/ 280800 h 298698"/>
                <a:gd name="connsiteX352" fmla="*/ 204474 w 1254307"/>
                <a:gd name="connsiteY352" fmla="*/ 246166 h 298698"/>
                <a:gd name="connsiteX353" fmla="*/ 236874 w 1254307"/>
                <a:gd name="connsiteY353" fmla="*/ 259572 h 298698"/>
                <a:gd name="connsiteX354" fmla="*/ 229053 w 1254307"/>
                <a:gd name="connsiteY354" fmla="*/ 236110 h 298698"/>
                <a:gd name="connsiteX355" fmla="*/ 258846 w 1254307"/>
                <a:gd name="connsiteY355" fmla="*/ 233131 h 298698"/>
                <a:gd name="connsiteX356" fmla="*/ 232405 w 1254307"/>
                <a:gd name="connsiteY356" fmla="*/ 218979 h 298698"/>
                <a:gd name="connsiteX357" fmla="*/ 205963 w 1254307"/>
                <a:gd name="connsiteY357" fmla="*/ 207434 h 298698"/>
                <a:gd name="connsiteX358" fmla="*/ 162391 w 1254307"/>
                <a:gd name="connsiteY358" fmla="*/ 157903 h 298698"/>
                <a:gd name="connsiteX359" fmla="*/ 227563 w 1254307"/>
                <a:gd name="connsiteY359" fmla="*/ 170566 h 298698"/>
                <a:gd name="connsiteX360" fmla="*/ 251025 w 1254307"/>
                <a:gd name="connsiteY360" fmla="*/ 187697 h 298698"/>
                <a:gd name="connsiteX361" fmla="*/ 275977 w 1254307"/>
                <a:gd name="connsiteY361" fmla="*/ 202966 h 298698"/>
                <a:gd name="connsiteX362" fmla="*/ 264060 w 1254307"/>
                <a:gd name="connsiteY362" fmla="*/ 175407 h 298698"/>
                <a:gd name="connsiteX363" fmla="*/ 289384 w 1254307"/>
                <a:gd name="connsiteY363" fmla="*/ 170938 h 298698"/>
                <a:gd name="connsiteX364" fmla="*/ 261081 w 1254307"/>
                <a:gd name="connsiteY364" fmla="*/ 149710 h 298698"/>
                <a:gd name="connsiteX365" fmla="*/ 289384 w 1254307"/>
                <a:gd name="connsiteY365" fmla="*/ 128483 h 298698"/>
                <a:gd name="connsiteX366" fmla="*/ 265550 w 1254307"/>
                <a:gd name="connsiteY366" fmla="*/ 123641 h 298698"/>
                <a:gd name="connsiteX367" fmla="*/ 277467 w 1254307"/>
                <a:gd name="connsiteY367" fmla="*/ 96083 h 298698"/>
                <a:gd name="connsiteX368" fmla="*/ 252515 w 1254307"/>
                <a:gd name="connsiteY368" fmla="*/ 111352 h 298698"/>
                <a:gd name="connsiteX369" fmla="*/ 229053 w 1254307"/>
                <a:gd name="connsiteY369" fmla="*/ 128483 h 298698"/>
                <a:gd name="connsiteX370" fmla="*/ 163881 w 1254307"/>
                <a:gd name="connsiteY370" fmla="*/ 141145 h 298698"/>
                <a:gd name="connsiteX371" fmla="*/ 207453 w 1254307"/>
                <a:gd name="connsiteY371" fmla="*/ 91614 h 298698"/>
                <a:gd name="connsiteX372" fmla="*/ 233894 w 1254307"/>
                <a:gd name="connsiteY372" fmla="*/ 80069 h 298698"/>
                <a:gd name="connsiteX373" fmla="*/ 260336 w 1254307"/>
                <a:gd name="connsiteY373" fmla="*/ 65917 h 298698"/>
                <a:gd name="connsiteX374" fmla="*/ 230543 w 1254307"/>
                <a:gd name="connsiteY374" fmla="*/ 62938 h 298698"/>
                <a:gd name="connsiteX375" fmla="*/ 237619 w 1254307"/>
                <a:gd name="connsiteY375" fmla="*/ 38731 h 298698"/>
                <a:gd name="connsiteX376" fmla="*/ 205963 w 1254307"/>
                <a:gd name="connsiteY376" fmla="*/ 52883 h 298698"/>
                <a:gd name="connsiteX377" fmla="*/ 201495 w 1254307"/>
                <a:gd name="connsiteY377" fmla="*/ 17876 h 298698"/>
                <a:gd name="connsiteX378" fmla="*/ 184363 w 1254307"/>
                <a:gd name="connsiteY378" fmla="*/ 36869 h 298698"/>
                <a:gd name="connsiteX379" fmla="*/ 166488 w 1254307"/>
                <a:gd name="connsiteY379" fmla="*/ 12290 h 298698"/>
                <a:gd name="connsiteX380" fmla="*/ 167232 w 1254307"/>
                <a:gd name="connsiteY380" fmla="*/ 42083 h 298698"/>
                <a:gd name="connsiteX381" fmla="*/ 170212 w 1254307"/>
                <a:gd name="connsiteY381" fmla="*/ 70386 h 298698"/>
                <a:gd name="connsiteX382" fmla="*/ 148984 w 1254307"/>
                <a:gd name="connsiteY382" fmla="*/ 132952 h 298698"/>
                <a:gd name="connsiteX383" fmla="*/ 127757 w 1254307"/>
                <a:gd name="connsiteY383" fmla="*/ 70386 h 298698"/>
                <a:gd name="connsiteX384" fmla="*/ 130736 w 1254307"/>
                <a:gd name="connsiteY384" fmla="*/ 42083 h 298698"/>
                <a:gd name="connsiteX385" fmla="*/ 131481 w 1254307"/>
                <a:gd name="connsiteY385" fmla="*/ 12290 h 298698"/>
                <a:gd name="connsiteX386" fmla="*/ 134833 w 1254307"/>
                <a:gd name="connsiteY386" fmla="*/ 0 h 298698"/>
                <a:gd name="connsiteX387" fmla="*/ 134833 w 1254307"/>
                <a:gd name="connsiteY387" fmla="*/ 67779 h 298698"/>
                <a:gd name="connsiteX388" fmla="*/ 148239 w 1254307"/>
                <a:gd name="connsiteY388" fmla="*/ 107255 h 298698"/>
                <a:gd name="connsiteX389" fmla="*/ 161646 w 1254307"/>
                <a:gd name="connsiteY389" fmla="*/ 67779 h 298698"/>
                <a:gd name="connsiteX390" fmla="*/ 161646 w 1254307"/>
                <a:gd name="connsiteY390" fmla="*/ 0 h 298698"/>
                <a:gd name="connsiteX391" fmla="*/ 184363 w 1254307"/>
                <a:gd name="connsiteY391" fmla="*/ 19738 h 298698"/>
                <a:gd name="connsiteX392" fmla="*/ 202612 w 1254307"/>
                <a:gd name="connsiteY392" fmla="*/ 9310 h 298698"/>
                <a:gd name="connsiteX393" fmla="*/ 214901 w 1254307"/>
                <a:gd name="connsiteY393" fmla="*/ 34634 h 298698"/>
                <a:gd name="connsiteX394" fmla="*/ 242088 w 1254307"/>
                <a:gd name="connsiteY394" fmla="*/ 32400 h 298698"/>
                <a:gd name="connsiteX395" fmla="*/ 242832 w 1254307"/>
                <a:gd name="connsiteY395" fmla="*/ 53255 h 298698"/>
                <a:gd name="connsiteX396" fmla="*/ 271136 w 1254307"/>
                <a:gd name="connsiteY396" fmla="*/ 62938 h 298698"/>
                <a:gd name="connsiteX397" fmla="*/ 212294 w 1254307"/>
                <a:gd name="connsiteY397" fmla="*/ 96828 h 298698"/>
                <a:gd name="connsiteX398" fmla="*/ 184736 w 1254307"/>
                <a:gd name="connsiteY398" fmla="*/ 128110 h 298698"/>
                <a:gd name="connsiteX399" fmla="*/ 226074 w 1254307"/>
                <a:gd name="connsiteY399" fmla="*/ 119917 h 298698"/>
                <a:gd name="connsiteX400" fmla="*/ 284543 w 1254307"/>
                <a:gd name="connsiteY400" fmla="*/ 85655 h 298698"/>
                <a:gd name="connsiteX401" fmla="*/ 279329 w 1254307"/>
                <a:gd name="connsiteY401" fmla="*/ 115448 h 298698"/>
                <a:gd name="connsiteX402" fmla="*/ 296460 w 1254307"/>
                <a:gd name="connsiteY402" fmla="*/ 125876 h 298698"/>
                <a:gd name="connsiteX403" fmla="*/ 280074 w 1254307"/>
                <a:gd name="connsiteY403" fmla="*/ 149338 h 298698"/>
                <a:gd name="connsiteX404" fmla="*/ 296460 w 1254307"/>
                <a:gd name="connsiteY404" fmla="*/ 173172 h 298698"/>
                <a:gd name="connsiteX405" fmla="*/ 279329 w 1254307"/>
                <a:gd name="connsiteY405" fmla="*/ 183600 h 298698"/>
                <a:gd name="connsiteX406" fmla="*/ 284543 w 1254307"/>
                <a:gd name="connsiteY406" fmla="*/ 213393 h 298698"/>
                <a:gd name="connsiteX407" fmla="*/ 226074 w 1254307"/>
                <a:gd name="connsiteY407" fmla="*/ 179131 h 298698"/>
                <a:gd name="connsiteX408" fmla="*/ 184736 w 1254307"/>
                <a:gd name="connsiteY408" fmla="*/ 170938 h 298698"/>
                <a:gd name="connsiteX409" fmla="*/ 212294 w 1254307"/>
                <a:gd name="connsiteY409" fmla="*/ 202221 h 298698"/>
                <a:gd name="connsiteX410" fmla="*/ 271136 w 1254307"/>
                <a:gd name="connsiteY410" fmla="*/ 236110 h 298698"/>
                <a:gd name="connsiteX411" fmla="*/ 243205 w 1254307"/>
                <a:gd name="connsiteY411" fmla="*/ 245793 h 298698"/>
                <a:gd name="connsiteX412" fmla="*/ 243205 w 1254307"/>
                <a:gd name="connsiteY412" fmla="*/ 265903 h 298698"/>
                <a:gd name="connsiteX413" fmla="*/ 214901 w 1254307"/>
                <a:gd name="connsiteY413" fmla="*/ 264041 h 298698"/>
                <a:gd name="connsiteX414" fmla="*/ 202239 w 1254307"/>
                <a:gd name="connsiteY414" fmla="*/ 289366 h 298698"/>
                <a:gd name="connsiteX415" fmla="*/ 184363 w 1254307"/>
                <a:gd name="connsiteY415" fmla="*/ 278938 h 298698"/>
                <a:gd name="connsiteX416" fmla="*/ 161646 w 1254307"/>
                <a:gd name="connsiteY416" fmla="*/ 298676 h 298698"/>
                <a:gd name="connsiteX417" fmla="*/ 161646 w 1254307"/>
                <a:gd name="connsiteY417" fmla="*/ 230897 h 298698"/>
                <a:gd name="connsiteX418" fmla="*/ 148239 w 1254307"/>
                <a:gd name="connsiteY418" fmla="*/ 191421 h 298698"/>
                <a:gd name="connsiteX419" fmla="*/ 134833 w 1254307"/>
                <a:gd name="connsiteY419" fmla="*/ 230897 h 298698"/>
                <a:gd name="connsiteX420" fmla="*/ 134833 w 1254307"/>
                <a:gd name="connsiteY420" fmla="*/ 298676 h 298698"/>
                <a:gd name="connsiteX421" fmla="*/ 112115 w 1254307"/>
                <a:gd name="connsiteY421" fmla="*/ 278938 h 298698"/>
                <a:gd name="connsiteX422" fmla="*/ 94239 w 1254307"/>
                <a:gd name="connsiteY422" fmla="*/ 289366 h 298698"/>
                <a:gd name="connsiteX423" fmla="*/ 81577 w 1254307"/>
                <a:gd name="connsiteY423" fmla="*/ 264041 h 298698"/>
                <a:gd name="connsiteX424" fmla="*/ 53274 w 1254307"/>
                <a:gd name="connsiteY424" fmla="*/ 265903 h 298698"/>
                <a:gd name="connsiteX425" fmla="*/ 53274 w 1254307"/>
                <a:gd name="connsiteY425" fmla="*/ 245793 h 298698"/>
                <a:gd name="connsiteX426" fmla="*/ 25343 w 1254307"/>
                <a:gd name="connsiteY426" fmla="*/ 236110 h 298698"/>
                <a:gd name="connsiteX427" fmla="*/ 84184 w 1254307"/>
                <a:gd name="connsiteY427" fmla="*/ 202221 h 298698"/>
                <a:gd name="connsiteX428" fmla="*/ 111743 w 1254307"/>
                <a:gd name="connsiteY428" fmla="*/ 170938 h 298698"/>
                <a:gd name="connsiteX429" fmla="*/ 70405 w 1254307"/>
                <a:gd name="connsiteY429" fmla="*/ 179131 h 298698"/>
                <a:gd name="connsiteX430" fmla="*/ 11936 w 1254307"/>
                <a:gd name="connsiteY430" fmla="*/ 213393 h 298698"/>
                <a:gd name="connsiteX431" fmla="*/ 17150 w 1254307"/>
                <a:gd name="connsiteY431" fmla="*/ 183600 h 298698"/>
                <a:gd name="connsiteX432" fmla="*/ 19 w 1254307"/>
                <a:gd name="connsiteY432" fmla="*/ 173172 h 298698"/>
                <a:gd name="connsiteX433" fmla="*/ 16405 w 1254307"/>
                <a:gd name="connsiteY433" fmla="*/ 149710 h 298698"/>
                <a:gd name="connsiteX434" fmla="*/ 19 w 1254307"/>
                <a:gd name="connsiteY434" fmla="*/ 126248 h 298698"/>
                <a:gd name="connsiteX435" fmla="*/ 17150 w 1254307"/>
                <a:gd name="connsiteY435" fmla="*/ 115821 h 298698"/>
                <a:gd name="connsiteX436" fmla="*/ 11936 w 1254307"/>
                <a:gd name="connsiteY436" fmla="*/ 86028 h 298698"/>
                <a:gd name="connsiteX437" fmla="*/ 70405 w 1254307"/>
                <a:gd name="connsiteY437" fmla="*/ 120290 h 298698"/>
                <a:gd name="connsiteX438" fmla="*/ 111743 w 1254307"/>
                <a:gd name="connsiteY438" fmla="*/ 128483 h 298698"/>
                <a:gd name="connsiteX439" fmla="*/ 84184 w 1254307"/>
                <a:gd name="connsiteY439" fmla="*/ 97200 h 298698"/>
                <a:gd name="connsiteX440" fmla="*/ 25343 w 1254307"/>
                <a:gd name="connsiteY440" fmla="*/ 63683 h 298698"/>
                <a:gd name="connsiteX441" fmla="*/ 53646 w 1254307"/>
                <a:gd name="connsiteY441" fmla="*/ 53628 h 298698"/>
                <a:gd name="connsiteX442" fmla="*/ 54391 w 1254307"/>
                <a:gd name="connsiteY442" fmla="*/ 32400 h 298698"/>
                <a:gd name="connsiteX443" fmla="*/ 81577 w 1254307"/>
                <a:gd name="connsiteY443" fmla="*/ 34634 h 298698"/>
                <a:gd name="connsiteX444" fmla="*/ 93867 w 1254307"/>
                <a:gd name="connsiteY444" fmla="*/ 9310 h 298698"/>
                <a:gd name="connsiteX445" fmla="*/ 112115 w 1254307"/>
                <a:gd name="connsiteY445" fmla="*/ 19738 h 298698"/>
                <a:gd name="connsiteX446" fmla="*/ 134833 w 1254307"/>
                <a:gd name="connsiteY446" fmla="*/ 0 h 29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Lst>
              <a:rect l="l" t="t" r="r" b="b"/>
              <a:pathLst>
                <a:path w="1254307" h="298698">
                  <a:moveTo>
                    <a:pt x="1053948" y="221958"/>
                  </a:moveTo>
                  <a:cubicBezTo>
                    <a:pt x="1040541" y="221958"/>
                    <a:pt x="1031604" y="224193"/>
                    <a:pt x="1027135" y="228662"/>
                  </a:cubicBezTo>
                  <a:cubicBezTo>
                    <a:pt x="1024900" y="231269"/>
                    <a:pt x="1023411" y="234620"/>
                    <a:pt x="1023783" y="237972"/>
                  </a:cubicBezTo>
                  <a:cubicBezTo>
                    <a:pt x="1023783" y="246165"/>
                    <a:pt x="1030114" y="251379"/>
                    <a:pt x="1039424" y="251379"/>
                  </a:cubicBezTo>
                  <a:cubicBezTo>
                    <a:pt x="1045755" y="251007"/>
                    <a:pt x="1052086" y="249145"/>
                    <a:pt x="1057672" y="245793"/>
                  </a:cubicBezTo>
                  <a:lnTo>
                    <a:pt x="1058417" y="245420"/>
                  </a:lnTo>
                  <a:lnTo>
                    <a:pt x="1058790" y="245048"/>
                  </a:lnTo>
                  <a:lnTo>
                    <a:pt x="1058790" y="221958"/>
                  </a:lnTo>
                  <a:close/>
                  <a:moveTo>
                    <a:pt x="1221535" y="191793"/>
                  </a:moveTo>
                  <a:cubicBezTo>
                    <a:pt x="1205893" y="191793"/>
                    <a:pt x="1196210" y="203710"/>
                    <a:pt x="1196210" y="221958"/>
                  </a:cubicBezTo>
                  <a:cubicBezTo>
                    <a:pt x="1196210" y="238717"/>
                    <a:pt x="1205521" y="250262"/>
                    <a:pt x="1219300" y="250262"/>
                  </a:cubicBezTo>
                  <a:cubicBezTo>
                    <a:pt x="1225259" y="250262"/>
                    <a:pt x="1231217" y="248400"/>
                    <a:pt x="1236059" y="244676"/>
                  </a:cubicBezTo>
                  <a:lnTo>
                    <a:pt x="1236804" y="244303"/>
                  </a:lnTo>
                  <a:lnTo>
                    <a:pt x="1237176" y="196634"/>
                  </a:lnTo>
                  <a:lnTo>
                    <a:pt x="1236804" y="196262"/>
                  </a:lnTo>
                  <a:cubicBezTo>
                    <a:pt x="1232335" y="193283"/>
                    <a:pt x="1227121" y="191793"/>
                    <a:pt x="1221535" y="191793"/>
                  </a:cubicBezTo>
                  <a:close/>
                  <a:moveTo>
                    <a:pt x="850239" y="191793"/>
                  </a:moveTo>
                  <a:cubicBezTo>
                    <a:pt x="836459" y="191793"/>
                    <a:pt x="827521" y="203338"/>
                    <a:pt x="827521" y="220841"/>
                  </a:cubicBezTo>
                  <a:cubicBezTo>
                    <a:pt x="827521" y="238344"/>
                    <a:pt x="837204" y="250634"/>
                    <a:pt x="850983" y="250634"/>
                  </a:cubicBezTo>
                  <a:cubicBezTo>
                    <a:pt x="864763" y="250634"/>
                    <a:pt x="873328" y="239089"/>
                    <a:pt x="873328" y="221586"/>
                  </a:cubicBezTo>
                  <a:cubicBezTo>
                    <a:pt x="873328" y="204082"/>
                    <a:pt x="864018" y="191793"/>
                    <a:pt x="850239" y="191793"/>
                  </a:cubicBezTo>
                  <a:close/>
                  <a:moveTo>
                    <a:pt x="761232" y="191793"/>
                  </a:moveTo>
                  <a:cubicBezTo>
                    <a:pt x="745963" y="191793"/>
                    <a:pt x="735907" y="203710"/>
                    <a:pt x="735907" y="221213"/>
                  </a:cubicBezTo>
                  <a:cubicBezTo>
                    <a:pt x="735907" y="237600"/>
                    <a:pt x="745218" y="248772"/>
                    <a:pt x="758625" y="248772"/>
                  </a:cubicBezTo>
                  <a:cubicBezTo>
                    <a:pt x="764956" y="248772"/>
                    <a:pt x="770914" y="246538"/>
                    <a:pt x="776500" y="242813"/>
                  </a:cubicBezTo>
                  <a:lnTo>
                    <a:pt x="776500" y="195144"/>
                  </a:lnTo>
                  <a:lnTo>
                    <a:pt x="776128" y="194772"/>
                  </a:lnTo>
                  <a:cubicBezTo>
                    <a:pt x="771287" y="192910"/>
                    <a:pt x="766445" y="191793"/>
                    <a:pt x="761232" y="191793"/>
                  </a:cubicBezTo>
                  <a:close/>
                  <a:moveTo>
                    <a:pt x="611893" y="190675"/>
                  </a:moveTo>
                  <a:cubicBezTo>
                    <a:pt x="599976" y="190675"/>
                    <a:pt x="591038" y="199613"/>
                    <a:pt x="589549" y="213020"/>
                  </a:cubicBezTo>
                  <a:lnTo>
                    <a:pt x="589549" y="213765"/>
                  </a:lnTo>
                  <a:lnTo>
                    <a:pt x="630514" y="213765"/>
                  </a:lnTo>
                  <a:lnTo>
                    <a:pt x="630514" y="213020"/>
                  </a:lnTo>
                  <a:cubicBezTo>
                    <a:pt x="630514" y="202593"/>
                    <a:pt x="625673" y="190675"/>
                    <a:pt x="611893" y="190675"/>
                  </a:cubicBezTo>
                  <a:close/>
                  <a:moveTo>
                    <a:pt x="467770" y="178014"/>
                  </a:moveTo>
                  <a:cubicBezTo>
                    <a:pt x="477080" y="177642"/>
                    <a:pt x="486018" y="180249"/>
                    <a:pt x="493839" y="185090"/>
                  </a:cubicBezTo>
                  <a:lnTo>
                    <a:pt x="487880" y="195890"/>
                  </a:lnTo>
                  <a:cubicBezTo>
                    <a:pt x="481921" y="192538"/>
                    <a:pt x="475590" y="190676"/>
                    <a:pt x="468887" y="190676"/>
                  </a:cubicBezTo>
                  <a:cubicBezTo>
                    <a:pt x="458459" y="190676"/>
                    <a:pt x="454735" y="196262"/>
                    <a:pt x="454735" y="201104"/>
                  </a:cubicBezTo>
                  <a:cubicBezTo>
                    <a:pt x="454735" y="207435"/>
                    <a:pt x="461439" y="210414"/>
                    <a:pt x="469632" y="213766"/>
                  </a:cubicBezTo>
                  <a:lnTo>
                    <a:pt x="470749" y="214138"/>
                  </a:lnTo>
                  <a:cubicBezTo>
                    <a:pt x="481921" y="218980"/>
                    <a:pt x="494956" y="224193"/>
                    <a:pt x="494956" y="239835"/>
                  </a:cubicBezTo>
                  <a:cubicBezTo>
                    <a:pt x="494956" y="255476"/>
                    <a:pt x="483039" y="264787"/>
                    <a:pt x="464046" y="264787"/>
                  </a:cubicBezTo>
                  <a:cubicBezTo>
                    <a:pt x="453618" y="264787"/>
                    <a:pt x="443190" y="261807"/>
                    <a:pt x="434625" y="256593"/>
                  </a:cubicBezTo>
                  <a:lnTo>
                    <a:pt x="440584" y="245421"/>
                  </a:lnTo>
                  <a:cubicBezTo>
                    <a:pt x="447287" y="249145"/>
                    <a:pt x="454735" y="251380"/>
                    <a:pt x="462184" y="251752"/>
                  </a:cubicBezTo>
                  <a:cubicBezTo>
                    <a:pt x="471494" y="251752"/>
                    <a:pt x="477453" y="247283"/>
                    <a:pt x="477453" y="240580"/>
                  </a:cubicBezTo>
                  <a:cubicBezTo>
                    <a:pt x="477453" y="233876"/>
                    <a:pt x="471494" y="231642"/>
                    <a:pt x="461811" y="227545"/>
                  </a:cubicBezTo>
                  <a:lnTo>
                    <a:pt x="459204" y="226428"/>
                  </a:lnTo>
                  <a:cubicBezTo>
                    <a:pt x="449894" y="222704"/>
                    <a:pt x="437604" y="217118"/>
                    <a:pt x="437604" y="202221"/>
                  </a:cubicBezTo>
                  <a:cubicBezTo>
                    <a:pt x="437604" y="187324"/>
                    <a:pt x="449894" y="178014"/>
                    <a:pt x="467770" y="178014"/>
                  </a:cubicBezTo>
                  <a:close/>
                  <a:moveTo>
                    <a:pt x="1134762" y="177641"/>
                  </a:moveTo>
                  <a:cubicBezTo>
                    <a:pt x="1142210" y="177269"/>
                    <a:pt x="1149659" y="179876"/>
                    <a:pt x="1155245" y="185089"/>
                  </a:cubicBezTo>
                  <a:cubicBezTo>
                    <a:pt x="1163438" y="193282"/>
                    <a:pt x="1163438" y="203710"/>
                    <a:pt x="1163438" y="215627"/>
                  </a:cubicBezTo>
                  <a:lnTo>
                    <a:pt x="1163438" y="262551"/>
                  </a:lnTo>
                  <a:lnTo>
                    <a:pt x="1146307" y="262551"/>
                  </a:lnTo>
                  <a:lnTo>
                    <a:pt x="1146307" y="217489"/>
                  </a:lnTo>
                  <a:cubicBezTo>
                    <a:pt x="1146307" y="206317"/>
                    <a:pt x="1146307" y="200358"/>
                    <a:pt x="1142210" y="196262"/>
                  </a:cubicBezTo>
                  <a:cubicBezTo>
                    <a:pt x="1139231" y="193655"/>
                    <a:pt x="1135134" y="192165"/>
                    <a:pt x="1131038" y="192538"/>
                  </a:cubicBezTo>
                  <a:cubicBezTo>
                    <a:pt x="1124334" y="192910"/>
                    <a:pt x="1117631" y="195144"/>
                    <a:pt x="1112045" y="198869"/>
                  </a:cubicBezTo>
                  <a:lnTo>
                    <a:pt x="1111672" y="199241"/>
                  </a:lnTo>
                  <a:lnTo>
                    <a:pt x="1111672" y="262924"/>
                  </a:lnTo>
                  <a:lnTo>
                    <a:pt x="1094169" y="262924"/>
                  </a:lnTo>
                  <a:lnTo>
                    <a:pt x="1094169" y="180248"/>
                  </a:lnTo>
                  <a:lnTo>
                    <a:pt x="1109066" y="180248"/>
                  </a:lnTo>
                  <a:lnTo>
                    <a:pt x="1109066" y="187324"/>
                  </a:lnTo>
                  <a:lnTo>
                    <a:pt x="1110183" y="186207"/>
                  </a:lnTo>
                  <a:cubicBezTo>
                    <a:pt x="1117259" y="180993"/>
                    <a:pt x="1125824" y="178013"/>
                    <a:pt x="1134762" y="177641"/>
                  </a:cubicBezTo>
                  <a:close/>
                  <a:moveTo>
                    <a:pt x="1043148" y="177641"/>
                  </a:moveTo>
                  <a:cubicBezTo>
                    <a:pt x="1055066" y="177641"/>
                    <a:pt x="1062886" y="180248"/>
                    <a:pt x="1068845" y="186207"/>
                  </a:cubicBezTo>
                  <a:cubicBezTo>
                    <a:pt x="1075176" y="192538"/>
                    <a:pt x="1075176" y="200731"/>
                    <a:pt x="1074804" y="211531"/>
                  </a:cubicBezTo>
                  <a:lnTo>
                    <a:pt x="1074804" y="262924"/>
                  </a:lnTo>
                  <a:lnTo>
                    <a:pt x="1059907" y="262924"/>
                  </a:lnTo>
                  <a:lnTo>
                    <a:pt x="1059907" y="255848"/>
                  </a:lnTo>
                  <a:lnTo>
                    <a:pt x="1058790" y="256593"/>
                  </a:lnTo>
                  <a:cubicBezTo>
                    <a:pt x="1051714" y="261434"/>
                    <a:pt x="1043148" y="264414"/>
                    <a:pt x="1034583" y="264414"/>
                  </a:cubicBezTo>
                  <a:cubicBezTo>
                    <a:pt x="1018942" y="264414"/>
                    <a:pt x="1008514" y="253986"/>
                    <a:pt x="1008514" y="238717"/>
                  </a:cubicBezTo>
                  <a:cubicBezTo>
                    <a:pt x="1008514" y="219724"/>
                    <a:pt x="1024155" y="210041"/>
                    <a:pt x="1055066" y="210041"/>
                  </a:cubicBezTo>
                  <a:lnTo>
                    <a:pt x="1058790" y="210041"/>
                  </a:lnTo>
                  <a:lnTo>
                    <a:pt x="1058790" y="205945"/>
                  </a:lnTo>
                  <a:cubicBezTo>
                    <a:pt x="1058790" y="200731"/>
                    <a:pt x="1058790" y="197751"/>
                    <a:pt x="1055810" y="194772"/>
                  </a:cubicBezTo>
                  <a:cubicBezTo>
                    <a:pt x="1052831" y="191793"/>
                    <a:pt x="1048735" y="190676"/>
                    <a:pt x="1041659" y="190676"/>
                  </a:cubicBezTo>
                  <a:cubicBezTo>
                    <a:pt x="1033838" y="191048"/>
                    <a:pt x="1026017" y="193282"/>
                    <a:pt x="1019314" y="197007"/>
                  </a:cubicBezTo>
                  <a:lnTo>
                    <a:pt x="1013355" y="186207"/>
                  </a:lnTo>
                  <a:cubicBezTo>
                    <a:pt x="1021921" y="180248"/>
                    <a:pt x="1032348" y="177269"/>
                    <a:pt x="1043148" y="177641"/>
                  </a:cubicBezTo>
                  <a:close/>
                  <a:moveTo>
                    <a:pt x="851356" y="177641"/>
                  </a:moveTo>
                  <a:cubicBezTo>
                    <a:pt x="875190" y="177641"/>
                    <a:pt x="891204" y="194027"/>
                    <a:pt x="891204" y="220469"/>
                  </a:cubicBezTo>
                  <a:cubicBezTo>
                    <a:pt x="891204" y="246910"/>
                    <a:pt x="874446" y="264413"/>
                    <a:pt x="849866" y="264413"/>
                  </a:cubicBezTo>
                  <a:cubicBezTo>
                    <a:pt x="826032" y="264413"/>
                    <a:pt x="810018" y="248027"/>
                    <a:pt x="810018" y="221586"/>
                  </a:cubicBezTo>
                  <a:cubicBezTo>
                    <a:pt x="810018" y="195144"/>
                    <a:pt x="826777" y="177641"/>
                    <a:pt x="851356" y="177641"/>
                  </a:cubicBezTo>
                  <a:close/>
                  <a:moveTo>
                    <a:pt x="761604" y="177641"/>
                  </a:moveTo>
                  <a:cubicBezTo>
                    <a:pt x="772776" y="178013"/>
                    <a:pt x="783576" y="180620"/>
                    <a:pt x="793631" y="185834"/>
                  </a:cubicBezTo>
                  <a:lnTo>
                    <a:pt x="793631" y="259200"/>
                  </a:lnTo>
                  <a:cubicBezTo>
                    <a:pt x="793631" y="271862"/>
                    <a:pt x="793259" y="280055"/>
                    <a:pt x="785438" y="288248"/>
                  </a:cubicBezTo>
                  <a:cubicBezTo>
                    <a:pt x="778735" y="295324"/>
                    <a:pt x="769052" y="298675"/>
                    <a:pt x="756390" y="298675"/>
                  </a:cubicBezTo>
                  <a:cubicBezTo>
                    <a:pt x="744101" y="299048"/>
                    <a:pt x="731811" y="294951"/>
                    <a:pt x="721756" y="287503"/>
                  </a:cubicBezTo>
                  <a:lnTo>
                    <a:pt x="728832" y="276331"/>
                  </a:lnTo>
                  <a:cubicBezTo>
                    <a:pt x="736652" y="281544"/>
                    <a:pt x="745590" y="284524"/>
                    <a:pt x="754528" y="284524"/>
                  </a:cubicBezTo>
                  <a:cubicBezTo>
                    <a:pt x="760487" y="284896"/>
                    <a:pt x="766073" y="283407"/>
                    <a:pt x="770914" y="279682"/>
                  </a:cubicBezTo>
                  <a:cubicBezTo>
                    <a:pt x="776500" y="274841"/>
                    <a:pt x="776873" y="268138"/>
                    <a:pt x="776873" y="259944"/>
                  </a:cubicBezTo>
                  <a:lnTo>
                    <a:pt x="776873" y="256220"/>
                  </a:lnTo>
                  <a:lnTo>
                    <a:pt x="775756" y="256965"/>
                  </a:lnTo>
                  <a:lnTo>
                    <a:pt x="775011" y="257338"/>
                  </a:lnTo>
                  <a:cubicBezTo>
                    <a:pt x="769052" y="260689"/>
                    <a:pt x="761976" y="262551"/>
                    <a:pt x="754901" y="262551"/>
                  </a:cubicBezTo>
                  <a:cubicBezTo>
                    <a:pt x="729949" y="262551"/>
                    <a:pt x="718404" y="241324"/>
                    <a:pt x="718404" y="221958"/>
                  </a:cubicBezTo>
                  <a:cubicBezTo>
                    <a:pt x="718404" y="196262"/>
                    <a:pt x="736652" y="177641"/>
                    <a:pt x="761604" y="177641"/>
                  </a:cubicBezTo>
                  <a:close/>
                  <a:moveTo>
                    <a:pt x="706487" y="177641"/>
                  </a:moveTo>
                  <a:cubicBezTo>
                    <a:pt x="709466" y="177641"/>
                    <a:pt x="712073" y="178013"/>
                    <a:pt x="714680" y="179131"/>
                  </a:cubicBezTo>
                  <a:lnTo>
                    <a:pt x="710583" y="192538"/>
                  </a:lnTo>
                  <a:cubicBezTo>
                    <a:pt x="708721" y="192165"/>
                    <a:pt x="707232" y="192165"/>
                    <a:pt x="705370" y="192165"/>
                  </a:cubicBezTo>
                  <a:cubicBezTo>
                    <a:pt x="695315" y="192165"/>
                    <a:pt x="686004" y="197007"/>
                    <a:pt x="680418" y="205572"/>
                  </a:cubicBezTo>
                  <a:lnTo>
                    <a:pt x="680418" y="262551"/>
                  </a:lnTo>
                  <a:lnTo>
                    <a:pt x="663287" y="262551"/>
                  </a:lnTo>
                  <a:lnTo>
                    <a:pt x="663287" y="180248"/>
                  </a:lnTo>
                  <a:lnTo>
                    <a:pt x="678184" y="180248"/>
                  </a:lnTo>
                  <a:lnTo>
                    <a:pt x="678184" y="192910"/>
                  </a:lnTo>
                  <a:lnTo>
                    <a:pt x="679673" y="190303"/>
                  </a:lnTo>
                  <a:cubicBezTo>
                    <a:pt x="686377" y="182110"/>
                    <a:pt x="696059" y="177641"/>
                    <a:pt x="706487" y="177641"/>
                  </a:cubicBezTo>
                  <a:close/>
                  <a:moveTo>
                    <a:pt x="611521" y="177641"/>
                  </a:moveTo>
                  <a:cubicBezTo>
                    <a:pt x="633866" y="177641"/>
                    <a:pt x="646900" y="193655"/>
                    <a:pt x="646900" y="220096"/>
                  </a:cubicBezTo>
                  <a:cubicBezTo>
                    <a:pt x="646900" y="221586"/>
                    <a:pt x="646528" y="223448"/>
                    <a:pt x="646528" y="224565"/>
                  </a:cubicBezTo>
                  <a:cubicBezTo>
                    <a:pt x="646528" y="224938"/>
                    <a:pt x="646528" y="225682"/>
                    <a:pt x="646528" y="226055"/>
                  </a:cubicBezTo>
                  <a:lnTo>
                    <a:pt x="589549" y="226055"/>
                  </a:lnTo>
                  <a:lnTo>
                    <a:pt x="589549" y="226800"/>
                  </a:lnTo>
                  <a:cubicBezTo>
                    <a:pt x="589549" y="227544"/>
                    <a:pt x="589549" y="227917"/>
                    <a:pt x="589549" y="228662"/>
                  </a:cubicBezTo>
                  <a:cubicBezTo>
                    <a:pt x="590293" y="241696"/>
                    <a:pt x="601466" y="251379"/>
                    <a:pt x="614128" y="250634"/>
                  </a:cubicBezTo>
                  <a:cubicBezTo>
                    <a:pt x="621949" y="250634"/>
                    <a:pt x="629769" y="248400"/>
                    <a:pt x="636845" y="244675"/>
                  </a:cubicBezTo>
                  <a:lnTo>
                    <a:pt x="642804" y="255848"/>
                  </a:lnTo>
                  <a:cubicBezTo>
                    <a:pt x="633866" y="261434"/>
                    <a:pt x="623438" y="264413"/>
                    <a:pt x="612638" y="264413"/>
                  </a:cubicBezTo>
                  <a:cubicBezTo>
                    <a:pt x="588431" y="264413"/>
                    <a:pt x="572790" y="247282"/>
                    <a:pt x="572790" y="221586"/>
                  </a:cubicBezTo>
                  <a:cubicBezTo>
                    <a:pt x="572790" y="195889"/>
                    <a:pt x="588804" y="177641"/>
                    <a:pt x="611521" y="177641"/>
                  </a:cubicBezTo>
                  <a:close/>
                  <a:moveTo>
                    <a:pt x="372060" y="164979"/>
                  </a:moveTo>
                  <a:cubicBezTo>
                    <a:pt x="352694" y="164979"/>
                    <a:pt x="339287" y="182483"/>
                    <a:pt x="339287" y="208179"/>
                  </a:cubicBezTo>
                  <a:cubicBezTo>
                    <a:pt x="339287" y="232758"/>
                    <a:pt x="353067" y="250262"/>
                    <a:pt x="373177" y="250262"/>
                  </a:cubicBezTo>
                  <a:cubicBezTo>
                    <a:pt x="397756" y="250262"/>
                    <a:pt x="406322" y="227545"/>
                    <a:pt x="406322" y="206689"/>
                  </a:cubicBezTo>
                  <a:cubicBezTo>
                    <a:pt x="406322" y="182110"/>
                    <a:pt x="391425" y="164979"/>
                    <a:pt x="372060" y="164979"/>
                  </a:cubicBezTo>
                  <a:close/>
                  <a:moveTo>
                    <a:pt x="915038" y="156041"/>
                  </a:moveTo>
                  <a:lnTo>
                    <a:pt x="932541" y="156041"/>
                  </a:lnTo>
                  <a:lnTo>
                    <a:pt x="932541" y="180248"/>
                  </a:lnTo>
                  <a:lnTo>
                    <a:pt x="957121" y="180248"/>
                  </a:lnTo>
                  <a:lnTo>
                    <a:pt x="957121" y="194027"/>
                  </a:lnTo>
                  <a:lnTo>
                    <a:pt x="932541" y="194027"/>
                  </a:lnTo>
                  <a:lnTo>
                    <a:pt x="932541" y="234248"/>
                  </a:lnTo>
                  <a:cubicBezTo>
                    <a:pt x="932541" y="240951"/>
                    <a:pt x="932541" y="250262"/>
                    <a:pt x="944459" y="250262"/>
                  </a:cubicBezTo>
                  <a:cubicBezTo>
                    <a:pt x="948183" y="250262"/>
                    <a:pt x="951907" y="249517"/>
                    <a:pt x="955259" y="248027"/>
                  </a:cubicBezTo>
                  <a:lnTo>
                    <a:pt x="959728" y="259944"/>
                  </a:lnTo>
                  <a:cubicBezTo>
                    <a:pt x="953769" y="263296"/>
                    <a:pt x="947066" y="264786"/>
                    <a:pt x="940735" y="264786"/>
                  </a:cubicBezTo>
                  <a:cubicBezTo>
                    <a:pt x="933659" y="265158"/>
                    <a:pt x="926583" y="262924"/>
                    <a:pt x="920997" y="258082"/>
                  </a:cubicBezTo>
                  <a:cubicBezTo>
                    <a:pt x="915038" y="251751"/>
                    <a:pt x="915038" y="244675"/>
                    <a:pt x="915038" y="234248"/>
                  </a:cubicBezTo>
                  <a:lnTo>
                    <a:pt x="915038" y="194027"/>
                  </a:lnTo>
                  <a:lnTo>
                    <a:pt x="900514" y="194027"/>
                  </a:lnTo>
                  <a:lnTo>
                    <a:pt x="900514" y="180248"/>
                  </a:lnTo>
                  <a:lnTo>
                    <a:pt x="915038" y="180248"/>
                  </a:lnTo>
                  <a:close/>
                  <a:moveTo>
                    <a:pt x="519163" y="156041"/>
                  </a:moveTo>
                  <a:lnTo>
                    <a:pt x="536667" y="156041"/>
                  </a:lnTo>
                  <a:lnTo>
                    <a:pt x="536667" y="180248"/>
                  </a:lnTo>
                  <a:lnTo>
                    <a:pt x="561246" y="180248"/>
                  </a:lnTo>
                  <a:lnTo>
                    <a:pt x="561246" y="194027"/>
                  </a:lnTo>
                  <a:lnTo>
                    <a:pt x="536667" y="194027"/>
                  </a:lnTo>
                  <a:lnTo>
                    <a:pt x="536667" y="234248"/>
                  </a:lnTo>
                  <a:cubicBezTo>
                    <a:pt x="536667" y="240951"/>
                    <a:pt x="536667" y="250262"/>
                    <a:pt x="548956" y="250262"/>
                  </a:cubicBezTo>
                  <a:cubicBezTo>
                    <a:pt x="552680" y="250262"/>
                    <a:pt x="556404" y="249517"/>
                    <a:pt x="559756" y="248027"/>
                  </a:cubicBezTo>
                  <a:lnTo>
                    <a:pt x="564225" y="259944"/>
                  </a:lnTo>
                  <a:cubicBezTo>
                    <a:pt x="557894" y="263296"/>
                    <a:pt x="551563" y="264786"/>
                    <a:pt x="544860" y="264786"/>
                  </a:cubicBezTo>
                  <a:cubicBezTo>
                    <a:pt x="537784" y="265158"/>
                    <a:pt x="530708" y="262924"/>
                    <a:pt x="525122" y="258082"/>
                  </a:cubicBezTo>
                  <a:cubicBezTo>
                    <a:pt x="519163" y="251751"/>
                    <a:pt x="519163" y="244675"/>
                    <a:pt x="519163" y="234248"/>
                  </a:cubicBezTo>
                  <a:lnTo>
                    <a:pt x="519163" y="194027"/>
                  </a:lnTo>
                  <a:lnTo>
                    <a:pt x="504639" y="194027"/>
                  </a:lnTo>
                  <a:lnTo>
                    <a:pt x="504639" y="180248"/>
                  </a:lnTo>
                  <a:lnTo>
                    <a:pt x="519163" y="180248"/>
                  </a:lnTo>
                  <a:close/>
                  <a:moveTo>
                    <a:pt x="976114" y="150828"/>
                  </a:moveTo>
                  <a:lnTo>
                    <a:pt x="993617" y="150828"/>
                  </a:lnTo>
                  <a:lnTo>
                    <a:pt x="993617" y="262552"/>
                  </a:lnTo>
                  <a:lnTo>
                    <a:pt x="976114" y="262552"/>
                  </a:lnTo>
                  <a:close/>
                  <a:moveTo>
                    <a:pt x="866252" y="150828"/>
                  </a:moveTo>
                  <a:cubicBezTo>
                    <a:pt x="871838" y="150828"/>
                    <a:pt x="875935" y="155297"/>
                    <a:pt x="875935" y="160883"/>
                  </a:cubicBezTo>
                  <a:cubicBezTo>
                    <a:pt x="875935" y="166097"/>
                    <a:pt x="871838" y="170566"/>
                    <a:pt x="866252" y="170566"/>
                  </a:cubicBezTo>
                  <a:cubicBezTo>
                    <a:pt x="860666" y="170566"/>
                    <a:pt x="856569" y="166097"/>
                    <a:pt x="856569" y="160511"/>
                  </a:cubicBezTo>
                  <a:cubicBezTo>
                    <a:pt x="856569" y="154925"/>
                    <a:pt x="861038" y="150828"/>
                    <a:pt x="866252" y="150828"/>
                  </a:cubicBezTo>
                  <a:close/>
                  <a:moveTo>
                    <a:pt x="834597" y="150828"/>
                  </a:moveTo>
                  <a:cubicBezTo>
                    <a:pt x="840183" y="150828"/>
                    <a:pt x="844652" y="154925"/>
                    <a:pt x="844652" y="160511"/>
                  </a:cubicBezTo>
                  <a:cubicBezTo>
                    <a:pt x="844652" y="166097"/>
                    <a:pt x="840555" y="170566"/>
                    <a:pt x="834969" y="170566"/>
                  </a:cubicBezTo>
                  <a:cubicBezTo>
                    <a:pt x="829383" y="170566"/>
                    <a:pt x="824914" y="166469"/>
                    <a:pt x="824914" y="160883"/>
                  </a:cubicBezTo>
                  <a:cubicBezTo>
                    <a:pt x="824914" y="155297"/>
                    <a:pt x="829011" y="150828"/>
                    <a:pt x="834597" y="150828"/>
                  </a:cubicBezTo>
                  <a:close/>
                  <a:moveTo>
                    <a:pt x="1254307" y="150455"/>
                  </a:moveTo>
                  <a:lnTo>
                    <a:pt x="1254307" y="262179"/>
                  </a:lnTo>
                  <a:lnTo>
                    <a:pt x="1239410" y="262179"/>
                  </a:lnTo>
                  <a:lnTo>
                    <a:pt x="1239410" y="255476"/>
                  </a:lnTo>
                  <a:lnTo>
                    <a:pt x="1237921" y="256593"/>
                  </a:lnTo>
                  <a:cubicBezTo>
                    <a:pt x="1231590" y="261807"/>
                    <a:pt x="1223769" y="264414"/>
                    <a:pt x="1215576" y="264414"/>
                  </a:cubicBezTo>
                  <a:cubicBezTo>
                    <a:pt x="1193604" y="264414"/>
                    <a:pt x="1178707" y="247655"/>
                    <a:pt x="1178707" y="222331"/>
                  </a:cubicBezTo>
                  <a:cubicBezTo>
                    <a:pt x="1178707" y="197007"/>
                    <a:pt x="1195838" y="177641"/>
                    <a:pt x="1218555" y="177641"/>
                  </a:cubicBezTo>
                  <a:cubicBezTo>
                    <a:pt x="1224514" y="177641"/>
                    <a:pt x="1230472" y="178758"/>
                    <a:pt x="1235686" y="181738"/>
                  </a:cubicBezTo>
                  <a:lnTo>
                    <a:pt x="1236804" y="182483"/>
                  </a:lnTo>
                  <a:lnTo>
                    <a:pt x="1236804" y="181365"/>
                  </a:lnTo>
                  <a:lnTo>
                    <a:pt x="1236804" y="150827"/>
                  </a:lnTo>
                  <a:close/>
                  <a:moveTo>
                    <a:pt x="373177" y="150455"/>
                  </a:moveTo>
                  <a:cubicBezTo>
                    <a:pt x="403342" y="150455"/>
                    <a:pt x="424942" y="173545"/>
                    <a:pt x="424942" y="206689"/>
                  </a:cubicBezTo>
                  <a:cubicBezTo>
                    <a:pt x="424942" y="241696"/>
                    <a:pt x="403342" y="264786"/>
                    <a:pt x="372804" y="264786"/>
                  </a:cubicBezTo>
                  <a:cubicBezTo>
                    <a:pt x="342267" y="264786"/>
                    <a:pt x="321039" y="240952"/>
                    <a:pt x="321039" y="207434"/>
                  </a:cubicBezTo>
                  <a:cubicBezTo>
                    <a:pt x="321039" y="173917"/>
                    <a:pt x="342267" y="150455"/>
                    <a:pt x="373177" y="150455"/>
                  </a:cubicBezTo>
                  <a:close/>
                  <a:moveTo>
                    <a:pt x="388446" y="123269"/>
                  </a:moveTo>
                  <a:cubicBezTo>
                    <a:pt x="394032" y="123641"/>
                    <a:pt x="398129" y="128483"/>
                    <a:pt x="397756" y="133697"/>
                  </a:cubicBezTo>
                  <a:cubicBezTo>
                    <a:pt x="397384" y="138538"/>
                    <a:pt x="393660" y="142635"/>
                    <a:pt x="388446" y="143007"/>
                  </a:cubicBezTo>
                  <a:cubicBezTo>
                    <a:pt x="382860" y="142635"/>
                    <a:pt x="378763" y="137793"/>
                    <a:pt x="379135" y="132579"/>
                  </a:cubicBezTo>
                  <a:cubicBezTo>
                    <a:pt x="379508" y="127738"/>
                    <a:pt x="383604" y="123641"/>
                    <a:pt x="388446" y="123269"/>
                  </a:cubicBezTo>
                  <a:close/>
                  <a:moveTo>
                    <a:pt x="357163" y="123269"/>
                  </a:moveTo>
                  <a:cubicBezTo>
                    <a:pt x="362749" y="123269"/>
                    <a:pt x="367218" y="127366"/>
                    <a:pt x="367218" y="132952"/>
                  </a:cubicBezTo>
                  <a:cubicBezTo>
                    <a:pt x="367218" y="132952"/>
                    <a:pt x="367218" y="132952"/>
                    <a:pt x="367218" y="133324"/>
                  </a:cubicBezTo>
                  <a:cubicBezTo>
                    <a:pt x="367218" y="138538"/>
                    <a:pt x="362749" y="142635"/>
                    <a:pt x="357535" y="143007"/>
                  </a:cubicBezTo>
                  <a:cubicBezTo>
                    <a:pt x="351949" y="143007"/>
                    <a:pt x="347480" y="138910"/>
                    <a:pt x="347480" y="133324"/>
                  </a:cubicBezTo>
                  <a:cubicBezTo>
                    <a:pt x="347480" y="127738"/>
                    <a:pt x="351577" y="123269"/>
                    <a:pt x="357163" y="123269"/>
                  </a:cubicBezTo>
                  <a:close/>
                  <a:moveTo>
                    <a:pt x="465535" y="61820"/>
                  </a:moveTo>
                  <a:cubicBezTo>
                    <a:pt x="456224" y="61820"/>
                    <a:pt x="450266" y="68896"/>
                    <a:pt x="450266" y="79324"/>
                  </a:cubicBezTo>
                  <a:cubicBezTo>
                    <a:pt x="450266" y="89007"/>
                    <a:pt x="455852" y="95710"/>
                    <a:pt x="464045" y="95710"/>
                  </a:cubicBezTo>
                  <a:cubicBezTo>
                    <a:pt x="467769" y="95710"/>
                    <a:pt x="471493" y="94220"/>
                    <a:pt x="474845" y="91986"/>
                  </a:cubicBezTo>
                  <a:lnTo>
                    <a:pt x="474845" y="63683"/>
                  </a:lnTo>
                  <a:lnTo>
                    <a:pt x="474473" y="63683"/>
                  </a:lnTo>
                  <a:cubicBezTo>
                    <a:pt x="471493" y="62565"/>
                    <a:pt x="468514" y="61820"/>
                    <a:pt x="465535" y="61820"/>
                  </a:cubicBezTo>
                  <a:close/>
                  <a:moveTo>
                    <a:pt x="546721" y="61448"/>
                  </a:moveTo>
                  <a:cubicBezTo>
                    <a:pt x="538156" y="61448"/>
                    <a:pt x="532942" y="68524"/>
                    <a:pt x="532942" y="78952"/>
                  </a:cubicBezTo>
                  <a:cubicBezTo>
                    <a:pt x="532942" y="89379"/>
                    <a:pt x="538901" y="96828"/>
                    <a:pt x="547094" y="96828"/>
                  </a:cubicBezTo>
                  <a:cubicBezTo>
                    <a:pt x="555287" y="96828"/>
                    <a:pt x="560873" y="89752"/>
                    <a:pt x="560873" y="79324"/>
                  </a:cubicBezTo>
                  <a:cubicBezTo>
                    <a:pt x="560873" y="68897"/>
                    <a:pt x="555287" y="61448"/>
                    <a:pt x="546721" y="61448"/>
                  </a:cubicBezTo>
                  <a:close/>
                  <a:moveTo>
                    <a:pt x="409301" y="61076"/>
                  </a:moveTo>
                  <a:cubicBezTo>
                    <a:pt x="402225" y="61076"/>
                    <a:pt x="397012" y="66290"/>
                    <a:pt x="395894" y="74483"/>
                  </a:cubicBezTo>
                  <a:lnTo>
                    <a:pt x="395894" y="75228"/>
                  </a:lnTo>
                  <a:lnTo>
                    <a:pt x="420474" y="75228"/>
                  </a:lnTo>
                  <a:lnTo>
                    <a:pt x="420474" y="74483"/>
                  </a:lnTo>
                  <a:cubicBezTo>
                    <a:pt x="420474" y="68152"/>
                    <a:pt x="417494" y="61076"/>
                    <a:pt x="409301" y="61076"/>
                  </a:cubicBezTo>
                  <a:close/>
                  <a:moveTo>
                    <a:pt x="500170" y="57724"/>
                  </a:moveTo>
                  <a:lnTo>
                    <a:pt x="509853" y="57724"/>
                  </a:lnTo>
                  <a:lnTo>
                    <a:pt x="509853" y="103531"/>
                  </a:lnTo>
                  <a:lnTo>
                    <a:pt x="500170" y="103531"/>
                  </a:lnTo>
                  <a:close/>
                  <a:moveTo>
                    <a:pt x="606680" y="54000"/>
                  </a:moveTo>
                  <a:cubicBezTo>
                    <a:pt x="611149" y="53628"/>
                    <a:pt x="615246" y="55490"/>
                    <a:pt x="618597" y="58469"/>
                  </a:cubicBezTo>
                  <a:cubicBezTo>
                    <a:pt x="623439" y="63311"/>
                    <a:pt x="623439" y="69269"/>
                    <a:pt x="623439" y="76345"/>
                  </a:cubicBezTo>
                  <a:lnTo>
                    <a:pt x="623439" y="103904"/>
                  </a:lnTo>
                  <a:lnTo>
                    <a:pt x="614128" y="103904"/>
                  </a:lnTo>
                  <a:lnTo>
                    <a:pt x="614128" y="103531"/>
                  </a:lnTo>
                  <a:lnTo>
                    <a:pt x="614128" y="77090"/>
                  </a:lnTo>
                  <a:cubicBezTo>
                    <a:pt x="614128" y="70386"/>
                    <a:pt x="614128" y="66662"/>
                    <a:pt x="611521" y="64428"/>
                  </a:cubicBezTo>
                  <a:cubicBezTo>
                    <a:pt x="609659" y="62938"/>
                    <a:pt x="607425" y="61821"/>
                    <a:pt x="604818" y="62193"/>
                  </a:cubicBezTo>
                  <a:cubicBezTo>
                    <a:pt x="600721" y="62193"/>
                    <a:pt x="596625" y="63683"/>
                    <a:pt x="593273" y="65917"/>
                  </a:cubicBezTo>
                  <a:lnTo>
                    <a:pt x="592901" y="65917"/>
                  </a:lnTo>
                  <a:lnTo>
                    <a:pt x="592901" y="103531"/>
                  </a:lnTo>
                  <a:lnTo>
                    <a:pt x="583218" y="103531"/>
                  </a:lnTo>
                  <a:lnTo>
                    <a:pt x="583218" y="55490"/>
                  </a:lnTo>
                  <a:lnTo>
                    <a:pt x="591411" y="55490"/>
                  </a:lnTo>
                  <a:lnTo>
                    <a:pt x="591411" y="59586"/>
                  </a:lnTo>
                  <a:lnTo>
                    <a:pt x="592528" y="58842"/>
                  </a:lnTo>
                  <a:cubicBezTo>
                    <a:pt x="596625" y="55862"/>
                    <a:pt x="601839" y="54000"/>
                    <a:pt x="606680" y="54000"/>
                  </a:cubicBezTo>
                  <a:close/>
                  <a:moveTo>
                    <a:pt x="547094" y="54000"/>
                  </a:moveTo>
                  <a:cubicBezTo>
                    <a:pt x="561246" y="54000"/>
                    <a:pt x="570183" y="64055"/>
                    <a:pt x="570183" y="79324"/>
                  </a:cubicBezTo>
                  <a:cubicBezTo>
                    <a:pt x="570183" y="94593"/>
                    <a:pt x="559756" y="105021"/>
                    <a:pt x="545977" y="105021"/>
                  </a:cubicBezTo>
                  <a:cubicBezTo>
                    <a:pt x="532197" y="105021"/>
                    <a:pt x="522887" y="94966"/>
                    <a:pt x="522887" y="79697"/>
                  </a:cubicBezTo>
                  <a:cubicBezTo>
                    <a:pt x="522887" y="64428"/>
                    <a:pt x="532570" y="54000"/>
                    <a:pt x="547094" y="54000"/>
                  </a:cubicBezTo>
                  <a:close/>
                  <a:moveTo>
                    <a:pt x="409301" y="54000"/>
                  </a:moveTo>
                  <a:cubicBezTo>
                    <a:pt x="421963" y="54000"/>
                    <a:pt x="429784" y="63310"/>
                    <a:pt x="429412" y="78579"/>
                  </a:cubicBezTo>
                  <a:cubicBezTo>
                    <a:pt x="429412" y="79697"/>
                    <a:pt x="429412" y="80814"/>
                    <a:pt x="429412" y="81186"/>
                  </a:cubicBezTo>
                  <a:cubicBezTo>
                    <a:pt x="429412" y="81559"/>
                    <a:pt x="429412" y="81559"/>
                    <a:pt x="429412" y="81931"/>
                  </a:cubicBezTo>
                  <a:lnTo>
                    <a:pt x="395894" y="81931"/>
                  </a:lnTo>
                  <a:lnTo>
                    <a:pt x="395894" y="82676"/>
                  </a:lnTo>
                  <a:cubicBezTo>
                    <a:pt x="395894" y="83048"/>
                    <a:pt x="395894" y="83793"/>
                    <a:pt x="395894" y="84166"/>
                  </a:cubicBezTo>
                  <a:cubicBezTo>
                    <a:pt x="396267" y="91986"/>
                    <a:pt x="402970" y="97572"/>
                    <a:pt x="410791" y="97200"/>
                  </a:cubicBezTo>
                  <a:cubicBezTo>
                    <a:pt x="415632" y="97200"/>
                    <a:pt x="420101" y="95710"/>
                    <a:pt x="424198" y="93476"/>
                  </a:cubicBezTo>
                  <a:lnTo>
                    <a:pt x="427549" y="99807"/>
                  </a:lnTo>
                  <a:cubicBezTo>
                    <a:pt x="422336" y="102786"/>
                    <a:pt x="416377" y="104648"/>
                    <a:pt x="410046" y="104648"/>
                  </a:cubicBezTo>
                  <a:cubicBezTo>
                    <a:pt x="395894" y="104648"/>
                    <a:pt x="386584" y="94593"/>
                    <a:pt x="386584" y="79697"/>
                  </a:cubicBezTo>
                  <a:cubicBezTo>
                    <a:pt x="386584" y="64800"/>
                    <a:pt x="395894" y="54000"/>
                    <a:pt x="409301" y="54000"/>
                  </a:cubicBezTo>
                  <a:close/>
                  <a:moveTo>
                    <a:pt x="465907" y="53627"/>
                  </a:moveTo>
                  <a:cubicBezTo>
                    <a:pt x="472238" y="54000"/>
                    <a:pt x="478569" y="55489"/>
                    <a:pt x="484528" y="58469"/>
                  </a:cubicBezTo>
                  <a:lnTo>
                    <a:pt x="484528" y="103531"/>
                  </a:lnTo>
                  <a:cubicBezTo>
                    <a:pt x="484528" y="110979"/>
                    <a:pt x="484155" y="116193"/>
                    <a:pt x="479686" y="120662"/>
                  </a:cubicBezTo>
                  <a:cubicBezTo>
                    <a:pt x="474845" y="124758"/>
                    <a:pt x="468886" y="126993"/>
                    <a:pt x="462555" y="126620"/>
                  </a:cubicBezTo>
                  <a:cubicBezTo>
                    <a:pt x="455480" y="126993"/>
                    <a:pt x="448404" y="124758"/>
                    <a:pt x="442445" y="120289"/>
                  </a:cubicBezTo>
                  <a:lnTo>
                    <a:pt x="446542" y="113958"/>
                  </a:lnTo>
                  <a:cubicBezTo>
                    <a:pt x="451011" y="116938"/>
                    <a:pt x="456224" y="118800"/>
                    <a:pt x="461438" y="119172"/>
                  </a:cubicBezTo>
                  <a:cubicBezTo>
                    <a:pt x="464790" y="119172"/>
                    <a:pt x="468514" y="117683"/>
                    <a:pt x="471121" y="115448"/>
                  </a:cubicBezTo>
                  <a:cubicBezTo>
                    <a:pt x="474473" y="112469"/>
                    <a:pt x="474845" y="108372"/>
                    <a:pt x="474845" y="103531"/>
                  </a:cubicBezTo>
                  <a:lnTo>
                    <a:pt x="474845" y="99807"/>
                  </a:lnTo>
                  <a:lnTo>
                    <a:pt x="473728" y="100179"/>
                  </a:lnTo>
                  <a:lnTo>
                    <a:pt x="473355" y="100551"/>
                  </a:lnTo>
                  <a:cubicBezTo>
                    <a:pt x="470004" y="102414"/>
                    <a:pt x="465907" y="103531"/>
                    <a:pt x="461811" y="103531"/>
                  </a:cubicBezTo>
                  <a:cubicBezTo>
                    <a:pt x="447286" y="103531"/>
                    <a:pt x="440583" y="91241"/>
                    <a:pt x="440583" y="79696"/>
                  </a:cubicBezTo>
                  <a:cubicBezTo>
                    <a:pt x="440583" y="78951"/>
                    <a:pt x="440583" y="78579"/>
                    <a:pt x="440583" y="77834"/>
                  </a:cubicBezTo>
                  <a:cubicBezTo>
                    <a:pt x="440955" y="64055"/>
                    <a:pt x="452128" y="53255"/>
                    <a:pt x="465907" y="53627"/>
                  </a:cubicBezTo>
                  <a:close/>
                  <a:moveTo>
                    <a:pt x="342267" y="45807"/>
                  </a:moveTo>
                  <a:lnTo>
                    <a:pt x="342267" y="68152"/>
                  </a:lnTo>
                  <a:lnTo>
                    <a:pt x="347480" y="68152"/>
                  </a:lnTo>
                  <a:cubicBezTo>
                    <a:pt x="353067" y="68152"/>
                    <a:pt x="357536" y="67780"/>
                    <a:pt x="360887" y="64800"/>
                  </a:cubicBezTo>
                  <a:cubicBezTo>
                    <a:pt x="364984" y="60331"/>
                    <a:pt x="364984" y="53628"/>
                    <a:pt x="361260" y="48786"/>
                  </a:cubicBezTo>
                  <a:cubicBezTo>
                    <a:pt x="358280" y="46552"/>
                    <a:pt x="354556" y="45435"/>
                    <a:pt x="350832" y="45807"/>
                  </a:cubicBezTo>
                  <a:close/>
                  <a:moveTo>
                    <a:pt x="505011" y="37986"/>
                  </a:moveTo>
                  <a:cubicBezTo>
                    <a:pt x="508362" y="37986"/>
                    <a:pt x="510969" y="40593"/>
                    <a:pt x="510969" y="43945"/>
                  </a:cubicBezTo>
                  <a:cubicBezTo>
                    <a:pt x="510969" y="46924"/>
                    <a:pt x="508362" y="49531"/>
                    <a:pt x="505011" y="49531"/>
                  </a:cubicBezTo>
                  <a:cubicBezTo>
                    <a:pt x="501659" y="49531"/>
                    <a:pt x="499052" y="46924"/>
                    <a:pt x="499052" y="43945"/>
                  </a:cubicBezTo>
                  <a:cubicBezTo>
                    <a:pt x="499052" y="40593"/>
                    <a:pt x="501659" y="37986"/>
                    <a:pt x="505011" y="37986"/>
                  </a:cubicBezTo>
                  <a:close/>
                  <a:moveTo>
                    <a:pt x="331839" y="37614"/>
                  </a:moveTo>
                  <a:lnTo>
                    <a:pt x="348970" y="37614"/>
                  </a:lnTo>
                  <a:cubicBezTo>
                    <a:pt x="357536" y="37614"/>
                    <a:pt x="363867" y="37986"/>
                    <a:pt x="368708" y="42828"/>
                  </a:cubicBezTo>
                  <a:cubicBezTo>
                    <a:pt x="372060" y="46180"/>
                    <a:pt x="373922" y="51021"/>
                    <a:pt x="373922" y="55862"/>
                  </a:cubicBezTo>
                  <a:cubicBezTo>
                    <a:pt x="374294" y="59959"/>
                    <a:pt x="372804" y="64428"/>
                    <a:pt x="369825" y="67407"/>
                  </a:cubicBezTo>
                  <a:cubicBezTo>
                    <a:pt x="366846" y="70386"/>
                    <a:pt x="363122" y="72248"/>
                    <a:pt x="359025" y="72621"/>
                  </a:cubicBezTo>
                  <a:cubicBezTo>
                    <a:pt x="361632" y="72993"/>
                    <a:pt x="363867" y="74483"/>
                    <a:pt x="365729" y="76345"/>
                  </a:cubicBezTo>
                  <a:cubicBezTo>
                    <a:pt x="367591" y="78952"/>
                    <a:pt x="369080" y="81559"/>
                    <a:pt x="370198" y="84538"/>
                  </a:cubicBezTo>
                  <a:lnTo>
                    <a:pt x="378391" y="103531"/>
                  </a:lnTo>
                  <a:lnTo>
                    <a:pt x="367591" y="103531"/>
                  </a:lnTo>
                  <a:lnTo>
                    <a:pt x="359770" y="86028"/>
                  </a:lnTo>
                  <a:cubicBezTo>
                    <a:pt x="355301" y="76345"/>
                    <a:pt x="352694" y="75973"/>
                    <a:pt x="345246" y="75973"/>
                  </a:cubicBezTo>
                  <a:lnTo>
                    <a:pt x="341894" y="75973"/>
                  </a:lnTo>
                  <a:lnTo>
                    <a:pt x="341894" y="103531"/>
                  </a:lnTo>
                  <a:lnTo>
                    <a:pt x="331839" y="103531"/>
                  </a:lnTo>
                  <a:close/>
                  <a:moveTo>
                    <a:pt x="131481" y="12290"/>
                  </a:moveTo>
                  <a:cubicBezTo>
                    <a:pt x="122915" y="18248"/>
                    <a:pt x="116957" y="27186"/>
                    <a:pt x="113605" y="36869"/>
                  </a:cubicBezTo>
                  <a:cubicBezTo>
                    <a:pt x="110253" y="30166"/>
                    <a:pt x="102805" y="18621"/>
                    <a:pt x="96846" y="17876"/>
                  </a:cubicBezTo>
                  <a:cubicBezTo>
                    <a:pt x="90143" y="21972"/>
                    <a:pt x="89398" y="41338"/>
                    <a:pt x="92377" y="52883"/>
                  </a:cubicBezTo>
                  <a:cubicBezTo>
                    <a:pt x="83439" y="44317"/>
                    <a:pt x="67053" y="35007"/>
                    <a:pt x="60722" y="38731"/>
                  </a:cubicBezTo>
                  <a:cubicBezTo>
                    <a:pt x="58115" y="44690"/>
                    <a:pt x="63702" y="56607"/>
                    <a:pt x="67798" y="62938"/>
                  </a:cubicBezTo>
                  <a:cubicBezTo>
                    <a:pt x="58488" y="60703"/>
                    <a:pt x="43964" y="62193"/>
                    <a:pt x="38005" y="65917"/>
                  </a:cubicBezTo>
                  <a:cubicBezTo>
                    <a:pt x="45081" y="73738"/>
                    <a:pt x="54391" y="78579"/>
                    <a:pt x="64446" y="80069"/>
                  </a:cubicBezTo>
                  <a:cubicBezTo>
                    <a:pt x="74502" y="82303"/>
                    <a:pt x="84557" y="84538"/>
                    <a:pt x="90888" y="91614"/>
                  </a:cubicBezTo>
                  <a:cubicBezTo>
                    <a:pt x="103550" y="106138"/>
                    <a:pt x="132970" y="139655"/>
                    <a:pt x="134460" y="141145"/>
                  </a:cubicBezTo>
                  <a:cubicBezTo>
                    <a:pt x="132598" y="140772"/>
                    <a:pt x="88281" y="132207"/>
                    <a:pt x="69288" y="128483"/>
                  </a:cubicBezTo>
                  <a:cubicBezTo>
                    <a:pt x="59605" y="126621"/>
                    <a:pt x="52529" y="118800"/>
                    <a:pt x="45826" y="111352"/>
                  </a:cubicBezTo>
                  <a:cubicBezTo>
                    <a:pt x="39495" y="103531"/>
                    <a:pt x="30557" y="98317"/>
                    <a:pt x="20874" y="96083"/>
                  </a:cubicBezTo>
                  <a:cubicBezTo>
                    <a:pt x="20502" y="103159"/>
                    <a:pt x="26088" y="116566"/>
                    <a:pt x="32791" y="123641"/>
                  </a:cubicBezTo>
                  <a:cubicBezTo>
                    <a:pt x="25715" y="123269"/>
                    <a:pt x="12309" y="124014"/>
                    <a:pt x="8957" y="128483"/>
                  </a:cubicBezTo>
                  <a:cubicBezTo>
                    <a:pt x="9329" y="135931"/>
                    <a:pt x="25715" y="146359"/>
                    <a:pt x="37260" y="149710"/>
                  </a:cubicBezTo>
                  <a:cubicBezTo>
                    <a:pt x="25715" y="153062"/>
                    <a:pt x="9329" y="163490"/>
                    <a:pt x="8957" y="170938"/>
                  </a:cubicBezTo>
                  <a:cubicBezTo>
                    <a:pt x="11936" y="175407"/>
                    <a:pt x="25715" y="176152"/>
                    <a:pt x="32791" y="175779"/>
                  </a:cubicBezTo>
                  <a:cubicBezTo>
                    <a:pt x="26460" y="182855"/>
                    <a:pt x="20874" y="196262"/>
                    <a:pt x="20874" y="203338"/>
                  </a:cubicBezTo>
                  <a:cubicBezTo>
                    <a:pt x="30557" y="201476"/>
                    <a:pt x="39122" y="195890"/>
                    <a:pt x="45453" y="188069"/>
                  </a:cubicBezTo>
                  <a:cubicBezTo>
                    <a:pt x="52157" y="180248"/>
                    <a:pt x="59233" y="172428"/>
                    <a:pt x="68915" y="170566"/>
                  </a:cubicBezTo>
                  <a:cubicBezTo>
                    <a:pt x="87908" y="166841"/>
                    <a:pt x="131853" y="158276"/>
                    <a:pt x="134088" y="157903"/>
                  </a:cubicBezTo>
                  <a:cubicBezTo>
                    <a:pt x="132598" y="159393"/>
                    <a:pt x="103177" y="192910"/>
                    <a:pt x="90515" y="207434"/>
                  </a:cubicBezTo>
                  <a:cubicBezTo>
                    <a:pt x="84184" y="214883"/>
                    <a:pt x="74129" y="216745"/>
                    <a:pt x="64074" y="218979"/>
                  </a:cubicBezTo>
                  <a:cubicBezTo>
                    <a:pt x="53646" y="220469"/>
                    <a:pt x="44336" y="225310"/>
                    <a:pt x="37633" y="233131"/>
                  </a:cubicBezTo>
                  <a:cubicBezTo>
                    <a:pt x="43591" y="236483"/>
                    <a:pt x="58115" y="238345"/>
                    <a:pt x="67426" y="236110"/>
                  </a:cubicBezTo>
                  <a:cubicBezTo>
                    <a:pt x="63702" y="242069"/>
                    <a:pt x="57371" y="254359"/>
                    <a:pt x="58860" y="259572"/>
                  </a:cubicBezTo>
                  <a:cubicBezTo>
                    <a:pt x="65936" y="263297"/>
                    <a:pt x="81950" y="255103"/>
                    <a:pt x="91260" y="246166"/>
                  </a:cubicBezTo>
                  <a:cubicBezTo>
                    <a:pt x="88281" y="258455"/>
                    <a:pt x="89398" y="276331"/>
                    <a:pt x="96102" y="280800"/>
                  </a:cubicBezTo>
                  <a:cubicBezTo>
                    <a:pt x="101688" y="280055"/>
                    <a:pt x="109136" y="268138"/>
                    <a:pt x="112488" y="261807"/>
                  </a:cubicBezTo>
                  <a:cubicBezTo>
                    <a:pt x="115839" y="271490"/>
                    <a:pt x="122170" y="280055"/>
                    <a:pt x="130364" y="286386"/>
                  </a:cubicBezTo>
                  <a:cubicBezTo>
                    <a:pt x="133715" y="276703"/>
                    <a:pt x="133343" y="266276"/>
                    <a:pt x="129619" y="256593"/>
                  </a:cubicBezTo>
                  <a:cubicBezTo>
                    <a:pt x="126639" y="247283"/>
                    <a:pt x="123660" y="237600"/>
                    <a:pt x="126639" y="228290"/>
                  </a:cubicBezTo>
                  <a:cubicBezTo>
                    <a:pt x="132970" y="209669"/>
                    <a:pt x="147122" y="167586"/>
                    <a:pt x="147867" y="165724"/>
                  </a:cubicBezTo>
                  <a:cubicBezTo>
                    <a:pt x="148612" y="167959"/>
                    <a:pt x="162764" y="209669"/>
                    <a:pt x="169095" y="228290"/>
                  </a:cubicBezTo>
                  <a:cubicBezTo>
                    <a:pt x="172446" y="237228"/>
                    <a:pt x="169095" y="247283"/>
                    <a:pt x="166115" y="256593"/>
                  </a:cubicBezTo>
                  <a:cubicBezTo>
                    <a:pt x="162391" y="266276"/>
                    <a:pt x="162019" y="276703"/>
                    <a:pt x="165370" y="286386"/>
                  </a:cubicBezTo>
                  <a:cubicBezTo>
                    <a:pt x="173936" y="280055"/>
                    <a:pt x="179895" y="271490"/>
                    <a:pt x="183246" y="261807"/>
                  </a:cubicBezTo>
                  <a:cubicBezTo>
                    <a:pt x="186598" y="268510"/>
                    <a:pt x="194046" y="280055"/>
                    <a:pt x="199632" y="280800"/>
                  </a:cubicBezTo>
                  <a:cubicBezTo>
                    <a:pt x="206336" y="276703"/>
                    <a:pt x="207826" y="258828"/>
                    <a:pt x="204474" y="246166"/>
                  </a:cubicBezTo>
                  <a:cubicBezTo>
                    <a:pt x="213784" y="255476"/>
                    <a:pt x="229798" y="263297"/>
                    <a:pt x="236874" y="259572"/>
                  </a:cubicBezTo>
                  <a:cubicBezTo>
                    <a:pt x="239108" y="254359"/>
                    <a:pt x="232777" y="242069"/>
                    <a:pt x="229053" y="236110"/>
                  </a:cubicBezTo>
                  <a:cubicBezTo>
                    <a:pt x="238363" y="238345"/>
                    <a:pt x="252888" y="236855"/>
                    <a:pt x="258846" y="233131"/>
                  </a:cubicBezTo>
                  <a:cubicBezTo>
                    <a:pt x="252143" y="225310"/>
                    <a:pt x="242460" y="220469"/>
                    <a:pt x="232405" y="218979"/>
                  </a:cubicBezTo>
                  <a:cubicBezTo>
                    <a:pt x="222350" y="216745"/>
                    <a:pt x="212294" y="214510"/>
                    <a:pt x="205963" y="207434"/>
                  </a:cubicBezTo>
                  <a:cubicBezTo>
                    <a:pt x="193301" y="192910"/>
                    <a:pt x="163881" y="159393"/>
                    <a:pt x="162391" y="157903"/>
                  </a:cubicBezTo>
                  <a:cubicBezTo>
                    <a:pt x="164253" y="158276"/>
                    <a:pt x="208570" y="166841"/>
                    <a:pt x="227563" y="170566"/>
                  </a:cubicBezTo>
                  <a:cubicBezTo>
                    <a:pt x="237246" y="172428"/>
                    <a:pt x="244322" y="180248"/>
                    <a:pt x="251025" y="187697"/>
                  </a:cubicBezTo>
                  <a:cubicBezTo>
                    <a:pt x="257357" y="195517"/>
                    <a:pt x="266294" y="200731"/>
                    <a:pt x="275977" y="202966"/>
                  </a:cubicBezTo>
                  <a:cubicBezTo>
                    <a:pt x="276350" y="195890"/>
                    <a:pt x="270763" y="182483"/>
                    <a:pt x="264060" y="175407"/>
                  </a:cubicBezTo>
                  <a:cubicBezTo>
                    <a:pt x="271136" y="175779"/>
                    <a:pt x="284543" y="175034"/>
                    <a:pt x="289384" y="170938"/>
                  </a:cubicBezTo>
                  <a:cubicBezTo>
                    <a:pt x="289384" y="163490"/>
                    <a:pt x="272625" y="153062"/>
                    <a:pt x="261081" y="149710"/>
                  </a:cubicBezTo>
                  <a:cubicBezTo>
                    <a:pt x="272625" y="146359"/>
                    <a:pt x="289012" y="135931"/>
                    <a:pt x="289384" y="128483"/>
                  </a:cubicBezTo>
                  <a:cubicBezTo>
                    <a:pt x="286032" y="124014"/>
                    <a:pt x="272625" y="123269"/>
                    <a:pt x="265550" y="123641"/>
                  </a:cubicBezTo>
                  <a:cubicBezTo>
                    <a:pt x="271881" y="116566"/>
                    <a:pt x="277467" y="103159"/>
                    <a:pt x="277467" y="96083"/>
                  </a:cubicBezTo>
                  <a:cubicBezTo>
                    <a:pt x="267412" y="97945"/>
                    <a:pt x="258846" y="103531"/>
                    <a:pt x="252515" y="111352"/>
                  </a:cubicBezTo>
                  <a:cubicBezTo>
                    <a:pt x="245812" y="118800"/>
                    <a:pt x="238736" y="126621"/>
                    <a:pt x="229053" y="128483"/>
                  </a:cubicBezTo>
                  <a:cubicBezTo>
                    <a:pt x="210060" y="132207"/>
                    <a:pt x="165743" y="140772"/>
                    <a:pt x="163881" y="141145"/>
                  </a:cubicBezTo>
                  <a:cubicBezTo>
                    <a:pt x="165370" y="139655"/>
                    <a:pt x="194791" y="106138"/>
                    <a:pt x="207453" y="91614"/>
                  </a:cubicBezTo>
                  <a:cubicBezTo>
                    <a:pt x="213784" y="84166"/>
                    <a:pt x="223839" y="82303"/>
                    <a:pt x="233894" y="80069"/>
                  </a:cubicBezTo>
                  <a:cubicBezTo>
                    <a:pt x="244322" y="78952"/>
                    <a:pt x="253632" y="73738"/>
                    <a:pt x="260336" y="65917"/>
                  </a:cubicBezTo>
                  <a:cubicBezTo>
                    <a:pt x="254005" y="62193"/>
                    <a:pt x="239853" y="60703"/>
                    <a:pt x="230543" y="62938"/>
                  </a:cubicBezTo>
                  <a:cubicBezTo>
                    <a:pt x="234639" y="56607"/>
                    <a:pt x="240226" y="44690"/>
                    <a:pt x="237619" y="38731"/>
                  </a:cubicBezTo>
                  <a:cubicBezTo>
                    <a:pt x="231288" y="35379"/>
                    <a:pt x="214529" y="44317"/>
                    <a:pt x="205963" y="52883"/>
                  </a:cubicBezTo>
                  <a:cubicBezTo>
                    <a:pt x="208943" y="41338"/>
                    <a:pt x="207826" y="21600"/>
                    <a:pt x="201495" y="17876"/>
                  </a:cubicBezTo>
                  <a:cubicBezTo>
                    <a:pt x="195536" y="18621"/>
                    <a:pt x="187715" y="30166"/>
                    <a:pt x="184363" y="36869"/>
                  </a:cubicBezTo>
                  <a:cubicBezTo>
                    <a:pt x="181384" y="27559"/>
                    <a:pt x="172819" y="16014"/>
                    <a:pt x="166488" y="12290"/>
                  </a:cubicBezTo>
                  <a:cubicBezTo>
                    <a:pt x="163136" y="21972"/>
                    <a:pt x="163508" y="32400"/>
                    <a:pt x="167232" y="42083"/>
                  </a:cubicBezTo>
                  <a:cubicBezTo>
                    <a:pt x="170212" y="51393"/>
                    <a:pt x="173191" y="61076"/>
                    <a:pt x="170212" y="70386"/>
                  </a:cubicBezTo>
                  <a:cubicBezTo>
                    <a:pt x="164253" y="89007"/>
                    <a:pt x="149729" y="131090"/>
                    <a:pt x="148984" y="132952"/>
                  </a:cubicBezTo>
                  <a:cubicBezTo>
                    <a:pt x="148239" y="130717"/>
                    <a:pt x="134088" y="89007"/>
                    <a:pt x="127757" y="70386"/>
                  </a:cubicBezTo>
                  <a:cubicBezTo>
                    <a:pt x="124405" y="61448"/>
                    <a:pt x="127757" y="51393"/>
                    <a:pt x="130736" y="42083"/>
                  </a:cubicBezTo>
                  <a:cubicBezTo>
                    <a:pt x="134460" y="32772"/>
                    <a:pt x="134833" y="21972"/>
                    <a:pt x="131481" y="12290"/>
                  </a:cubicBezTo>
                  <a:close/>
                  <a:moveTo>
                    <a:pt x="134833" y="0"/>
                  </a:moveTo>
                  <a:cubicBezTo>
                    <a:pt x="151591" y="32772"/>
                    <a:pt x="131853" y="41338"/>
                    <a:pt x="134833" y="67779"/>
                  </a:cubicBezTo>
                  <a:cubicBezTo>
                    <a:pt x="138557" y="78952"/>
                    <a:pt x="144515" y="96828"/>
                    <a:pt x="148239" y="107255"/>
                  </a:cubicBezTo>
                  <a:cubicBezTo>
                    <a:pt x="152336" y="94966"/>
                    <a:pt x="157922" y="78207"/>
                    <a:pt x="161646" y="67779"/>
                  </a:cubicBezTo>
                  <a:cubicBezTo>
                    <a:pt x="164253" y="40966"/>
                    <a:pt x="144888" y="32400"/>
                    <a:pt x="161646" y="0"/>
                  </a:cubicBezTo>
                  <a:cubicBezTo>
                    <a:pt x="170584" y="4469"/>
                    <a:pt x="178777" y="11172"/>
                    <a:pt x="184363" y="19738"/>
                  </a:cubicBezTo>
                  <a:cubicBezTo>
                    <a:pt x="190322" y="12662"/>
                    <a:pt x="196281" y="8938"/>
                    <a:pt x="202612" y="9310"/>
                  </a:cubicBezTo>
                  <a:cubicBezTo>
                    <a:pt x="208943" y="12662"/>
                    <a:pt x="214157" y="21228"/>
                    <a:pt x="214901" y="34634"/>
                  </a:cubicBezTo>
                  <a:cubicBezTo>
                    <a:pt x="227191" y="27931"/>
                    <a:pt x="236501" y="29048"/>
                    <a:pt x="242088" y="32400"/>
                  </a:cubicBezTo>
                  <a:cubicBezTo>
                    <a:pt x="246557" y="38731"/>
                    <a:pt x="244322" y="49159"/>
                    <a:pt x="242832" y="53255"/>
                  </a:cubicBezTo>
                  <a:cubicBezTo>
                    <a:pt x="253260" y="53628"/>
                    <a:pt x="262943" y="57352"/>
                    <a:pt x="271136" y="62938"/>
                  </a:cubicBezTo>
                  <a:cubicBezTo>
                    <a:pt x="251770" y="93848"/>
                    <a:pt x="233894" y="81186"/>
                    <a:pt x="212294" y="96828"/>
                  </a:cubicBezTo>
                  <a:cubicBezTo>
                    <a:pt x="204101" y="106138"/>
                    <a:pt x="190322" y="121779"/>
                    <a:pt x="184736" y="128110"/>
                  </a:cubicBezTo>
                  <a:cubicBezTo>
                    <a:pt x="195536" y="125876"/>
                    <a:pt x="214157" y="122152"/>
                    <a:pt x="226074" y="119917"/>
                  </a:cubicBezTo>
                  <a:cubicBezTo>
                    <a:pt x="250281" y="109490"/>
                    <a:pt x="248046" y="87890"/>
                    <a:pt x="284543" y="85655"/>
                  </a:cubicBezTo>
                  <a:cubicBezTo>
                    <a:pt x="285660" y="95710"/>
                    <a:pt x="283798" y="106138"/>
                    <a:pt x="279329" y="115448"/>
                  </a:cubicBezTo>
                  <a:cubicBezTo>
                    <a:pt x="285288" y="116566"/>
                    <a:pt x="293481" y="119172"/>
                    <a:pt x="296460" y="125876"/>
                  </a:cubicBezTo>
                  <a:cubicBezTo>
                    <a:pt x="296460" y="133324"/>
                    <a:pt x="291991" y="141890"/>
                    <a:pt x="280074" y="149338"/>
                  </a:cubicBezTo>
                  <a:cubicBezTo>
                    <a:pt x="291619" y="156786"/>
                    <a:pt x="296832" y="165724"/>
                    <a:pt x="296460" y="173172"/>
                  </a:cubicBezTo>
                  <a:cubicBezTo>
                    <a:pt x="293481" y="179876"/>
                    <a:pt x="285660" y="182483"/>
                    <a:pt x="279329" y="183600"/>
                  </a:cubicBezTo>
                  <a:cubicBezTo>
                    <a:pt x="283798" y="192910"/>
                    <a:pt x="285660" y="203338"/>
                    <a:pt x="284543" y="213393"/>
                  </a:cubicBezTo>
                  <a:cubicBezTo>
                    <a:pt x="248791" y="211531"/>
                    <a:pt x="249908" y="189559"/>
                    <a:pt x="226074" y="179131"/>
                  </a:cubicBezTo>
                  <a:cubicBezTo>
                    <a:pt x="214529" y="176897"/>
                    <a:pt x="195536" y="173172"/>
                    <a:pt x="184736" y="170938"/>
                  </a:cubicBezTo>
                  <a:cubicBezTo>
                    <a:pt x="192184" y="179131"/>
                    <a:pt x="204474" y="193283"/>
                    <a:pt x="212294" y="202221"/>
                  </a:cubicBezTo>
                  <a:cubicBezTo>
                    <a:pt x="233894" y="217862"/>
                    <a:pt x="251398" y="205200"/>
                    <a:pt x="271136" y="236110"/>
                  </a:cubicBezTo>
                  <a:cubicBezTo>
                    <a:pt x="262943" y="241697"/>
                    <a:pt x="253260" y="245048"/>
                    <a:pt x="243205" y="245793"/>
                  </a:cubicBezTo>
                  <a:cubicBezTo>
                    <a:pt x="245812" y="251752"/>
                    <a:pt x="247301" y="259945"/>
                    <a:pt x="243205" y="265903"/>
                  </a:cubicBezTo>
                  <a:cubicBezTo>
                    <a:pt x="236874" y="269628"/>
                    <a:pt x="226819" y="270000"/>
                    <a:pt x="214901" y="264041"/>
                  </a:cubicBezTo>
                  <a:cubicBezTo>
                    <a:pt x="214157" y="277448"/>
                    <a:pt x="208570" y="285641"/>
                    <a:pt x="202239" y="289366"/>
                  </a:cubicBezTo>
                  <a:cubicBezTo>
                    <a:pt x="194791" y="290110"/>
                    <a:pt x="187715" y="283407"/>
                    <a:pt x="184363" y="278938"/>
                  </a:cubicBezTo>
                  <a:cubicBezTo>
                    <a:pt x="178777" y="287503"/>
                    <a:pt x="170957" y="294207"/>
                    <a:pt x="161646" y="298676"/>
                  </a:cubicBezTo>
                  <a:cubicBezTo>
                    <a:pt x="144888" y="266648"/>
                    <a:pt x="164253" y="257338"/>
                    <a:pt x="161646" y="230897"/>
                  </a:cubicBezTo>
                  <a:cubicBezTo>
                    <a:pt x="157922" y="219724"/>
                    <a:pt x="151964" y="201848"/>
                    <a:pt x="148239" y="191421"/>
                  </a:cubicBezTo>
                  <a:cubicBezTo>
                    <a:pt x="144143" y="203710"/>
                    <a:pt x="138557" y="220469"/>
                    <a:pt x="134833" y="230897"/>
                  </a:cubicBezTo>
                  <a:cubicBezTo>
                    <a:pt x="131853" y="257710"/>
                    <a:pt x="151591" y="265903"/>
                    <a:pt x="134833" y="298676"/>
                  </a:cubicBezTo>
                  <a:cubicBezTo>
                    <a:pt x="125522" y="294207"/>
                    <a:pt x="117701" y="287503"/>
                    <a:pt x="112115" y="278938"/>
                  </a:cubicBezTo>
                  <a:cubicBezTo>
                    <a:pt x="108764" y="283407"/>
                    <a:pt x="101688" y="290110"/>
                    <a:pt x="94239" y="289366"/>
                  </a:cubicBezTo>
                  <a:cubicBezTo>
                    <a:pt x="87536" y="286014"/>
                    <a:pt x="82322" y="277448"/>
                    <a:pt x="81577" y="264041"/>
                  </a:cubicBezTo>
                  <a:cubicBezTo>
                    <a:pt x="69660" y="270372"/>
                    <a:pt x="59605" y="269628"/>
                    <a:pt x="53274" y="265903"/>
                  </a:cubicBezTo>
                  <a:cubicBezTo>
                    <a:pt x="49177" y="259945"/>
                    <a:pt x="51040" y="251752"/>
                    <a:pt x="53274" y="245793"/>
                  </a:cubicBezTo>
                  <a:cubicBezTo>
                    <a:pt x="43219" y="245421"/>
                    <a:pt x="33536" y="241697"/>
                    <a:pt x="25343" y="236110"/>
                  </a:cubicBezTo>
                  <a:cubicBezTo>
                    <a:pt x="44708" y="205200"/>
                    <a:pt x="62584" y="217862"/>
                    <a:pt x="84184" y="202221"/>
                  </a:cubicBezTo>
                  <a:cubicBezTo>
                    <a:pt x="92005" y="193283"/>
                    <a:pt x="104295" y="179131"/>
                    <a:pt x="111743" y="170938"/>
                  </a:cubicBezTo>
                  <a:cubicBezTo>
                    <a:pt x="98708" y="173545"/>
                    <a:pt x="81205" y="176897"/>
                    <a:pt x="70405" y="179131"/>
                  </a:cubicBezTo>
                  <a:cubicBezTo>
                    <a:pt x="46198" y="189559"/>
                    <a:pt x="47688" y="211531"/>
                    <a:pt x="11936" y="213393"/>
                  </a:cubicBezTo>
                  <a:cubicBezTo>
                    <a:pt x="10819" y="203338"/>
                    <a:pt x="12681" y="192910"/>
                    <a:pt x="17150" y="183600"/>
                  </a:cubicBezTo>
                  <a:cubicBezTo>
                    <a:pt x="11191" y="182483"/>
                    <a:pt x="2998" y="179876"/>
                    <a:pt x="19" y="173172"/>
                  </a:cubicBezTo>
                  <a:cubicBezTo>
                    <a:pt x="-354" y="165724"/>
                    <a:pt x="4488" y="157159"/>
                    <a:pt x="16405" y="149710"/>
                  </a:cubicBezTo>
                  <a:cubicBezTo>
                    <a:pt x="4488" y="142262"/>
                    <a:pt x="19" y="133324"/>
                    <a:pt x="19" y="126248"/>
                  </a:cubicBezTo>
                  <a:cubicBezTo>
                    <a:pt x="2998" y="119545"/>
                    <a:pt x="10819" y="116938"/>
                    <a:pt x="17150" y="115821"/>
                  </a:cubicBezTo>
                  <a:cubicBezTo>
                    <a:pt x="12681" y="106510"/>
                    <a:pt x="10819" y="96083"/>
                    <a:pt x="11936" y="86028"/>
                  </a:cubicBezTo>
                  <a:cubicBezTo>
                    <a:pt x="48433" y="88262"/>
                    <a:pt x="46571" y="109862"/>
                    <a:pt x="70405" y="120290"/>
                  </a:cubicBezTo>
                  <a:cubicBezTo>
                    <a:pt x="81950" y="122897"/>
                    <a:pt x="100943" y="126248"/>
                    <a:pt x="111743" y="128483"/>
                  </a:cubicBezTo>
                  <a:cubicBezTo>
                    <a:pt x="106157" y="122524"/>
                    <a:pt x="92377" y="106510"/>
                    <a:pt x="84184" y="97200"/>
                  </a:cubicBezTo>
                  <a:cubicBezTo>
                    <a:pt x="62584" y="81559"/>
                    <a:pt x="45081" y="94593"/>
                    <a:pt x="25343" y="63683"/>
                  </a:cubicBezTo>
                  <a:cubicBezTo>
                    <a:pt x="33908" y="57724"/>
                    <a:pt x="43591" y="54372"/>
                    <a:pt x="53646" y="53628"/>
                  </a:cubicBezTo>
                  <a:cubicBezTo>
                    <a:pt x="52157" y="49159"/>
                    <a:pt x="49922" y="39103"/>
                    <a:pt x="54391" y="32400"/>
                  </a:cubicBezTo>
                  <a:cubicBezTo>
                    <a:pt x="59977" y="28676"/>
                    <a:pt x="68915" y="27931"/>
                    <a:pt x="81577" y="34634"/>
                  </a:cubicBezTo>
                  <a:cubicBezTo>
                    <a:pt x="82322" y="21228"/>
                    <a:pt x="87536" y="12662"/>
                    <a:pt x="93867" y="9310"/>
                  </a:cubicBezTo>
                  <a:cubicBezTo>
                    <a:pt x="100198" y="8938"/>
                    <a:pt x="106157" y="12662"/>
                    <a:pt x="112115" y="19738"/>
                  </a:cubicBezTo>
                  <a:cubicBezTo>
                    <a:pt x="117701" y="11172"/>
                    <a:pt x="125522" y="4469"/>
                    <a:pt x="134833" y="0"/>
                  </a:cubicBezTo>
                  <a:close/>
                </a:path>
              </a:pathLst>
            </a:custGeom>
            <a:solidFill>
              <a:srgbClr val="FFFFFF"/>
            </a:solidFill>
            <a:ln w="3709" cap="flat">
              <a:noFill/>
              <a:prstDash val="solid"/>
              <a:miter/>
            </a:ln>
          </p:spPr>
          <p:txBody>
            <a:bodyPr wrap="square" rtlCol="0" anchor="ctr">
              <a:noAutofit/>
            </a:bodyPr>
            <a:lstStyle/>
            <a:p>
              <a:endParaRPr lang="sv-SE" sz="1350"/>
            </a:p>
          </p:txBody>
        </p:sp>
      </p:grpSp>
      <p:sp>
        <p:nvSpPr>
          <p:cNvPr id="22" name="Bild-Standard">
            <a:extLst>
              <a:ext uri="{FF2B5EF4-FFF2-40B4-BE49-F238E27FC236}">
                <a16:creationId xmlns:a16="http://schemas.microsoft.com/office/drawing/2014/main" id="{F9E3C9DD-78A8-44D3-92D2-3672711D10E5}"/>
              </a:ext>
            </a:extLst>
          </p:cNvPr>
          <p:cNvSpPr>
            <a:spLocks noGrp="1"/>
          </p:cNvSpPr>
          <p:nvPr>
            <p:ph type="pic" sz="quarter" idx="14"/>
          </p:nvPr>
        </p:nvSpPr>
        <p:spPr>
          <a:xfrm>
            <a:off x="4004560" y="-2"/>
            <a:ext cx="5138510" cy="5143502"/>
          </a:xfrm>
          <a:custGeom>
            <a:avLst/>
            <a:gdLst>
              <a:gd name="connsiteX0" fmla="*/ 0 w 6851346"/>
              <a:gd name="connsiteY0" fmla="*/ 0 h 6858002"/>
              <a:gd name="connsiteX1" fmla="*/ 6851346 w 6851346"/>
              <a:gd name="connsiteY1" fmla="*/ 0 h 6858002"/>
              <a:gd name="connsiteX2" fmla="*/ 6851346 w 6851346"/>
              <a:gd name="connsiteY2" fmla="*/ 6233800 h 6858002"/>
              <a:gd name="connsiteX3" fmla="*/ 5455643 w 6851346"/>
              <a:gd name="connsiteY3" fmla="*/ 6233800 h 6858002"/>
              <a:gd name="connsiteX4" fmla="*/ 5239786 w 6851346"/>
              <a:gd name="connsiteY4" fmla="*/ 6447816 h 6858002"/>
              <a:gd name="connsiteX5" fmla="*/ 5455643 w 6851346"/>
              <a:gd name="connsiteY5" fmla="*/ 6662200 h 6858002"/>
              <a:gd name="connsiteX6" fmla="*/ 6851346 w 6851346"/>
              <a:gd name="connsiteY6" fmla="*/ 6662200 h 6858002"/>
              <a:gd name="connsiteX7" fmla="*/ 6851346 w 6851346"/>
              <a:gd name="connsiteY7" fmla="*/ 6858002 h 6858002"/>
              <a:gd name="connsiteX8" fmla="*/ 6851345 w 6851346"/>
              <a:gd name="connsiteY8" fmla="*/ 6858002 h 6858002"/>
              <a:gd name="connsiteX9" fmla="*/ 4984291 w 6851346"/>
              <a:gd name="connsiteY9" fmla="*/ 6858002 h 6858002"/>
              <a:gd name="connsiteX10" fmla="*/ 0 w 6851346"/>
              <a:gd name="connsiteY10" fmla="*/ 6858002 h 6858002"/>
              <a:gd name="connsiteX11" fmla="*/ 0 w 6851346"/>
              <a:gd name="connsiteY11" fmla="*/ 6051552 h 6858002"/>
              <a:gd name="connsiteX12" fmla="*/ 717234 w 6851346"/>
              <a:gd name="connsiteY12" fmla="*/ 6051552 h 6858002"/>
              <a:gd name="connsiteX13" fmla="*/ 717234 w 6851346"/>
              <a:gd name="connsiteY13" fmla="*/ 368302 h 6858002"/>
              <a:gd name="connsiteX14" fmla="*/ 0 w 6851346"/>
              <a:gd name="connsiteY14" fmla="*/ 3683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51346" h="6858002">
                <a:moveTo>
                  <a:pt x="0" y="0"/>
                </a:moveTo>
                <a:lnTo>
                  <a:pt x="6851346" y="0"/>
                </a:lnTo>
                <a:lnTo>
                  <a:pt x="6851346" y="6233800"/>
                </a:lnTo>
                <a:lnTo>
                  <a:pt x="5455643" y="6233800"/>
                </a:lnTo>
                <a:cubicBezTo>
                  <a:pt x="5336383" y="6233800"/>
                  <a:pt x="5239786" y="6329574"/>
                  <a:pt x="5239786" y="6447816"/>
                </a:cubicBezTo>
                <a:cubicBezTo>
                  <a:pt x="5239786" y="6566059"/>
                  <a:pt x="5336383" y="6662200"/>
                  <a:pt x="5455643" y="6662200"/>
                </a:cubicBezTo>
                <a:lnTo>
                  <a:pt x="6851346" y="6662200"/>
                </a:lnTo>
                <a:lnTo>
                  <a:pt x="6851346" y="6858002"/>
                </a:lnTo>
                <a:lnTo>
                  <a:pt x="6851345" y="6858002"/>
                </a:lnTo>
                <a:lnTo>
                  <a:pt x="4984291" y="6858002"/>
                </a:lnTo>
                <a:lnTo>
                  <a:pt x="0" y="6858002"/>
                </a:lnTo>
                <a:lnTo>
                  <a:pt x="0" y="6051552"/>
                </a:lnTo>
                <a:lnTo>
                  <a:pt x="717234" y="6051552"/>
                </a:lnTo>
                <a:lnTo>
                  <a:pt x="717234" y="368302"/>
                </a:lnTo>
                <a:lnTo>
                  <a:pt x="0" y="368302"/>
                </a:lnTo>
                <a:close/>
              </a:path>
            </a:pathLst>
          </a:custGeom>
          <a:solidFill>
            <a:schemeClr val="accent2"/>
          </a:solidFill>
        </p:spPr>
        <p:txBody>
          <a:bodyPr wrap="square" anchor="ctr">
            <a:noAutofit/>
          </a:bodyPr>
          <a:lstStyle>
            <a:lvl1pPr marL="0" indent="0" algn="ctr">
              <a:buNone/>
              <a:defRPr/>
            </a:lvl1pPr>
          </a:lstStyle>
          <a:p>
            <a:r>
              <a:rPr lang="sv-SE"/>
              <a:t>Klicka på ikonen för att lägga till en bild</a:t>
            </a:r>
          </a:p>
        </p:txBody>
      </p:sp>
      <p:sp>
        <p:nvSpPr>
          <p:cNvPr id="11" name="Rektangel 10">
            <a:extLst>
              <a:ext uri="{FF2B5EF4-FFF2-40B4-BE49-F238E27FC236}">
                <a16:creationId xmlns:a16="http://schemas.microsoft.com/office/drawing/2014/main" id="{9E741B18-B69B-46F8-8EEC-DC2D486A7ADF}"/>
              </a:ext>
            </a:extLst>
          </p:cNvPr>
          <p:cNvSpPr/>
          <p:nvPr userDrawn="1"/>
        </p:nvSpPr>
        <p:spPr>
          <a:xfrm>
            <a:off x="269999" y="276225"/>
            <a:ext cx="4266000" cy="42624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7" name="Platshållare för bildnummer 6">
            <a:extLst>
              <a:ext uri="{FF2B5EF4-FFF2-40B4-BE49-F238E27FC236}">
                <a16:creationId xmlns:a16="http://schemas.microsoft.com/office/drawing/2014/main" id="{85C4A553-AD9D-4197-A713-E1B8FD3A3BC0}"/>
              </a:ext>
            </a:extLst>
          </p:cNvPr>
          <p:cNvSpPr>
            <a:spLocks noGrp="1"/>
          </p:cNvSpPr>
          <p:nvPr>
            <p:ph type="sldNum" sz="quarter" idx="12"/>
          </p:nvPr>
        </p:nvSpPr>
        <p:spPr/>
        <p:txBody>
          <a:bodyPr/>
          <a:lstStyle>
            <a:lvl1pPr>
              <a:defRPr>
                <a:solidFill>
                  <a:schemeClr val="tx1"/>
                </a:solidFill>
              </a:defRPr>
            </a:lvl1pPr>
          </a:lstStyle>
          <a:p>
            <a:fld id="{5204B58B-0420-4827-A2A8-7A3D043AFDDE}" type="slidenum">
              <a:rPr lang="sv-SE" smtClean="0"/>
              <a:pPr/>
              <a:t>‹#›</a:t>
            </a:fld>
            <a:endParaRPr lang="sv-SE" dirty="0"/>
          </a:p>
        </p:txBody>
      </p:sp>
      <p:sp>
        <p:nvSpPr>
          <p:cNvPr id="4" name="Platshållare för innehåll 3">
            <a:extLst>
              <a:ext uri="{FF2B5EF4-FFF2-40B4-BE49-F238E27FC236}">
                <a16:creationId xmlns:a16="http://schemas.microsoft.com/office/drawing/2014/main" id="{4747D080-8E2C-49CA-B749-61DD24CC21C8}"/>
              </a:ext>
            </a:extLst>
          </p:cNvPr>
          <p:cNvSpPr>
            <a:spLocks noGrp="1"/>
          </p:cNvSpPr>
          <p:nvPr userDrawn="1">
            <p:ph sz="half" idx="2" hasCustomPrompt="1"/>
          </p:nvPr>
        </p:nvSpPr>
        <p:spPr>
          <a:xfrm>
            <a:off x="809999" y="810000"/>
            <a:ext cx="3186000" cy="3186000"/>
          </a:xfrm>
        </p:spPr>
        <p:txBody>
          <a:bodyPr bIns="180000" anchor="ctr" anchorCtr="0"/>
          <a:lstStyle>
            <a:lvl1pPr marL="0" indent="0">
              <a:lnSpc>
                <a:spcPct val="114000"/>
              </a:lnSpc>
              <a:spcBef>
                <a:spcPts val="900"/>
              </a:spcBef>
              <a:buNone/>
              <a:defRPr sz="1350" spc="15" baseline="0">
                <a:solidFill>
                  <a:schemeClr val="bg1"/>
                </a:solidFill>
                <a:latin typeface="+mj-lt"/>
              </a:defRPr>
            </a:lvl1pPr>
            <a:lvl2pPr marL="176138" indent="0">
              <a:buNone/>
              <a:defRPr/>
            </a:lvl2pPr>
            <a:lvl3pPr marL="377354" indent="0">
              <a:buNone/>
              <a:defRPr/>
            </a:lvl3pPr>
            <a:lvl4pPr marL="567000" indent="0">
              <a:buNone/>
              <a:defRPr/>
            </a:lvl4pPr>
            <a:lvl5pPr marL="783000" indent="0">
              <a:buNone/>
              <a:defRPr/>
            </a:lvl5pPr>
          </a:lstStyle>
          <a:p>
            <a:pPr lvl="0"/>
            <a:r>
              <a:rPr lang="sv-SE" dirty="0"/>
              <a:t>Klicka och skriv text</a:t>
            </a:r>
          </a:p>
        </p:txBody>
      </p:sp>
    </p:spTree>
    <p:extLst>
      <p:ext uri="{BB962C8B-B14F-4D97-AF65-F5344CB8AC3E}">
        <p14:creationId xmlns:p14="http://schemas.microsoft.com/office/powerpoint/2010/main" val="475395418"/>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ort text och plats för objekt">
    <p:bg>
      <p:bgPr>
        <a:solidFill>
          <a:schemeClr val="bg1"/>
        </a:solidFill>
        <a:effectLst/>
      </p:bgPr>
    </p:bg>
    <p:spTree>
      <p:nvGrpSpPr>
        <p:cNvPr id="1" name=""/>
        <p:cNvGrpSpPr/>
        <p:nvPr/>
      </p:nvGrpSpPr>
      <p:grpSpPr>
        <a:xfrm>
          <a:off x="0" y="0"/>
          <a:ext cx="0" cy="0"/>
          <a:chOff x="0" y="0"/>
          <a:chExt cx="0" cy="0"/>
        </a:xfrm>
      </p:grpSpPr>
      <p:sp>
        <p:nvSpPr>
          <p:cNvPr id="34" name="Rektangel 33">
            <a:extLst>
              <a:ext uri="{FF2B5EF4-FFF2-40B4-BE49-F238E27FC236}">
                <a16:creationId xmlns:a16="http://schemas.microsoft.com/office/drawing/2014/main" id="{A0EE388C-E3E2-4E14-BC74-6DC6CF2B6C88}"/>
              </a:ext>
            </a:extLst>
          </p:cNvPr>
          <p:cNvSpPr/>
          <p:nvPr userDrawn="1"/>
        </p:nvSpPr>
        <p:spPr>
          <a:xfrm>
            <a:off x="4002486" y="-5"/>
            <a:ext cx="5141514" cy="51435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11" name="Rektangel 10">
            <a:extLst>
              <a:ext uri="{FF2B5EF4-FFF2-40B4-BE49-F238E27FC236}">
                <a16:creationId xmlns:a16="http://schemas.microsoft.com/office/drawing/2014/main" id="{9E741B18-B69B-46F8-8EEC-DC2D486A7ADF}"/>
              </a:ext>
            </a:extLst>
          </p:cNvPr>
          <p:cNvSpPr/>
          <p:nvPr userDrawn="1"/>
        </p:nvSpPr>
        <p:spPr>
          <a:xfrm>
            <a:off x="269999" y="276225"/>
            <a:ext cx="4266000" cy="42624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7" name="Platshållare för bildnummer 6">
            <a:extLst>
              <a:ext uri="{FF2B5EF4-FFF2-40B4-BE49-F238E27FC236}">
                <a16:creationId xmlns:a16="http://schemas.microsoft.com/office/drawing/2014/main" id="{85C4A553-AD9D-4197-A713-E1B8FD3A3BC0}"/>
              </a:ext>
            </a:extLst>
          </p:cNvPr>
          <p:cNvSpPr>
            <a:spLocks noGrp="1"/>
          </p:cNvSpPr>
          <p:nvPr>
            <p:ph type="sldNum" sz="quarter" idx="12"/>
          </p:nvPr>
        </p:nvSpPr>
        <p:spPr/>
        <p:txBody>
          <a:bodyPr/>
          <a:lstStyle>
            <a:lvl1pPr>
              <a:defRPr>
                <a:solidFill>
                  <a:schemeClr val="tx1"/>
                </a:solidFill>
              </a:defRPr>
            </a:lvl1pPr>
          </a:lstStyle>
          <a:p>
            <a:fld id="{5204B58B-0420-4827-A2A8-7A3D043AFDDE}" type="slidenum">
              <a:rPr lang="sv-SE" smtClean="0"/>
              <a:pPr/>
              <a:t>‹#›</a:t>
            </a:fld>
            <a:endParaRPr lang="sv-SE" dirty="0"/>
          </a:p>
        </p:txBody>
      </p:sp>
      <p:sp>
        <p:nvSpPr>
          <p:cNvPr id="4" name="Platshållare för innehåll 3">
            <a:extLst>
              <a:ext uri="{FF2B5EF4-FFF2-40B4-BE49-F238E27FC236}">
                <a16:creationId xmlns:a16="http://schemas.microsoft.com/office/drawing/2014/main" id="{4747D080-8E2C-49CA-B749-61DD24CC21C8}"/>
              </a:ext>
            </a:extLst>
          </p:cNvPr>
          <p:cNvSpPr>
            <a:spLocks noGrp="1"/>
          </p:cNvSpPr>
          <p:nvPr userDrawn="1">
            <p:ph sz="half" idx="2" hasCustomPrompt="1"/>
          </p:nvPr>
        </p:nvSpPr>
        <p:spPr>
          <a:xfrm>
            <a:off x="809999" y="810000"/>
            <a:ext cx="3186000" cy="3186000"/>
          </a:xfrm>
        </p:spPr>
        <p:txBody>
          <a:bodyPr bIns="180000" anchor="ctr" anchorCtr="0"/>
          <a:lstStyle>
            <a:lvl1pPr marL="0" indent="0">
              <a:lnSpc>
                <a:spcPct val="114000"/>
              </a:lnSpc>
              <a:spcBef>
                <a:spcPts val="900"/>
              </a:spcBef>
              <a:buNone/>
              <a:defRPr sz="1350" spc="15" baseline="0">
                <a:solidFill>
                  <a:schemeClr val="bg1"/>
                </a:solidFill>
                <a:latin typeface="+mj-lt"/>
              </a:defRPr>
            </a:lvl1pPr>
            <a:lvl2pPr marL="176138" indent="0">
              <a:buNone/>
              <a:defRPr/>
            </a:lvl2pPr>
            <a:lvl3pPr marL="377354" indent="0">
              <a:buNone/>
              <a:defRPr/>
            </a:lvl3pPr>
            <a:lvl4pPr marL="567000" indent="0">
              <a:buNone/>
              <a:defRPr/>
            </a:lvl4pPr>
            <a:lvl5pPr marL="783000" indent="0">
              <a:buNone/>
              <a:defRPr/>
            </a:lvl5pPr>
          </a:lstStyle>
          <a:p>
            <a:pPr lvl="0"/>
            <a:r>
              <a:rPr lang="sv-SE" dirty="0"/>
              <a:t>Klicka och skriv text</a:t>
            </a:r>
          </a:p>
        </p:txBody>
      </p:sp>
      <p:grpSp>
        <p:nvGrpSpPr>
          <p:cNvPr id="13" name="Region Östergötland">
            <a:extLst>
              <a:ext uri="{FF2B5EF4-FFF2-40B4-BE49-F238E27FC236}">
                <a16:creationId xmlns:a16="http://schemas.microsoft.com/office/drawing/2014/main" id="{3219D742-6583-4454-AED2-9839E31145FA}"/>
              </a:ext>
              <a:ext uri="{C183D7F6-B498-43B3-948B-1728B52AA6E4}">
                <adec:decorative xmlns:adec="http://schemas.microsoft.com/office/drawing/2017/decorative" val="1"/>
              </a:ext>
            </a:extLst>
          </p:cNvPr>
          <p:cNvGrpSpPr/>
          <p:nvPr userDrawn="1"/>
        </p:nvGrpSpPr>
        <p:grpSpPr>
          <a:xfrm>
            <a:off x="7930585" y="4673844"/>
            <a:ext cx="1212485" cy="324838"/>
            <a:chOff x="10580645" y="6231792"/>
            <a:chExt cx="1616646" cy="433117"/>
          </a:xfrm>
        </p:grpSpPr>
        <p:sp>
          <p:nvSpPr>
            <p:cNvPr id="14" name="Frihandsfigur: Form 13">
              <a:extLst>
                <a:ext uri="{FF2B5EF4-FFF2-40B4-BE49-F238E27FC236}">
                  <a16:creationId xmlns:a16="http://schemas.microsoft.com/office/drawing/2014/main" id="{98151F31-70F6-48C7-B886-736AB7A696A1}"/>
                </a:ext>
              </a:extLst>
            </p:cNvPr>
            <p:cNvSpPr/>
            <p:nvPr userDrawn="1"/>
          </p:nvSpPr>
          <p:spPr>
            <a:xfrm>
              <a:off x="10580645" y="6231792"/>
              <a:ext cx="1616646" cy="433117"/>
            </a:xfrm>
            <a:custGeom>
              <a:avLst/>
              <a:gdLst>
                <a:gd name="connsiteX0" fmla="*/ 216372 w 1616646"/>
                <a:gd name="connsiteY0" fmla="*/ 0 h 433117"/>
                <a:gd name="connsiteX1" fmla="*/ 1616646 w 1616646"/>
                <a:gd name="connsiteY1" fmla="*/ 0 h 433117"/>
                <a:gd name="connsiteX2" fmla="*/ 1616646 w 1616646"/>
                <a:gd name="connsiteY2" fmla="*/ 0 h 433117"/>
                <a:gd name="connsiteX3" fmla="*/ 1616646 w 1616646"/>
                <a:gd name="connsiteY3" fmla="*/ 433117 h 433117"/>
                <a:gd name="connsiteX4" fmla="*/ 1616646 w 1616646"/>
                <a:gd name="connsiteY4" fmla="*/ 433117 h 433117"/>
                <a:gd name="connsiteX5" fmla="*/ 216372 w 1616646"/>
                <a:gd name="connsiteY5" fmla="*/ 433117 h 433117"/>
                <a:gd name="connsiteX6" fmla="*/ 0 w 1616646"/>
                <a:gd name="connsiteY6" fmla="*/ 216372 h 433117"/>
                <a:gd name="connsiteX7" fmla="*/ 0 w 1616646"/>
                <a:gd name="connsiteY7" fmla="*/ 216372 h 433117"/>
                <a:gd name="connsiteX8" fmla="*/ 0 w 1616646"/>
                <a:gd name="connsiteY8" fmla="*/ 216372 h 433117"/>
                <a:gd name="connsiteX9" fmla="*/ 216372 w 1616646"/>
                <a:gd name="connsiteY9" fmla="*/ 0 h 433117"/>
                <a:gd name="connsiteX10" fmla="*/ 216372 w 1616646"/>
                <a:gd name="connsiteY10" fmla="*/ 0 h 43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646" h="433117">
                  <a:moveTo>
                    <a:pt x="216372" y="0"/>
                  </a:moveTo>
                  <a:lnTo>
                    <a:pt x="1616646" y="0"/>
                  </a:lnTo>
                  <a:lnTo>
                    <a:pt x="1616646" y="0"/>
                  </a:lnTo>
                  <a:lnTo>
                    <a:pt x="1616646" y="433117"/>
                  </a:lnTo>
                  <a:lnTo>
                    <a:pt x="1616646" y="433117"/>
                  </a:lnTo>
                  <a:lnTo>
                    <a:pt x="216372" y="433117"/>
                  </a:lnTo>
                  <a:cubicBezTo>
                    <a:pt x="96827" y="433117"/>
                    <a:pt x="0" y="335917"/>
                    <a:pt x="0" y="216372"/>
                  </a:cubicBezTo>
                  <a:cubicBezTo>
                    <a:pt x="0" y="216372"/>
                    <a:pt x="0" y="216372"/>
                    <a:pt x="0" y="216372"/>
                  </a:cubicBezTo>
                  <a:lnTo>
                    <a:pt x="0" y="216372"/>
                  </a:lnTo>
                  <a:cubicBezTo>
                    <a:pt x="0" y="96828"/>
                    <a:pt x="96827" y="0"/>
                    <a:pt x="216372" y="0"/>
                  </a:cubicBezTo>
                  <a:cubicBezTo>
                    <a:pt x="216372" y="0"/>
                    <a:pt x="216372" y="0"/>
                    <a:pt x="216372" y="0"/>
                  </a:cubicBezTo>
                  <a:close/>
                </a:path>
              </a:pathLst>
            </a:custGeom>
            <a:solidFill>
              <a:srgbClr val="0861CE"/>
            </a:solidFill>
            <a:ln w="3709" cap="flat">
              <a:noFill/>
              <a:prstDash val="solid"/>
              <a:miter/>
            </a:ln>
          </p:spPr>
          <p:txBody>
            <a:bodyPr rtlCol="0" anchor="ctr"/>
            <a:lstStyle/>
            <a:p>
              <a:endParaRPr lang="sv-SE" sz="1350"/>
            </a:p>
          </p:txBody>
        </p:sp>
        <p:sp>
          <p:nvSpPr>
            <p:cNvPr id="15" name="Frihandsfigur: Form 14">
              <a:extLst>
                <a:ext uri="{FF2B5EF4-FFF2-40B4-BE49-F238E27FC236}">
                  <a16:creationId xmlns:a16="http://schemas.microsoft.com/office/drawing/2014/main" id="{01C9C85B-F7EE-49C6-86A9-C618514D4BC0}"/>
                </a:ext>
              </a:extLst>
            </p:cNvPr>
            <p:cNvSpPr/>
            <p:nvPr/>
          </p:nvSpPr>
          <p:spPr>
            <a:xfrm>
              <a:off x="10647288" y="6298826"/>
              <a:ext cx="1254307" cy="298698"/>
            </a:xfrm>
            <a:custGeom>
              <a:avLst/>
              <a:gdLst>
                <a:gd name="connsiteX0" fmla="*/ 1053948 w 1254307"/>
                <a:gd name="connsiteY0" fmla="*/ 221958 h 298698"/>
                <a:gd name="connsiteX1" fmla="*/ 1027135 w 1254307"/>
                <a:gd name="connsiteY1" fmla="*/ 228662 h 298698"/>
                <a:gd name="connsiteX2" fmla="*/ 1023783 w 1254307"/>
                <a:gd name="connsiteY2" fmla="*/ 237972 h 298698"/>
                <a:gd name="connsiteX3" fmla="*/ 1039424 w 1254307"/>
                <a:gd name="connsiteY3" fmla="*/ 251379 h 298698"/>
                <a:gd name="connsiteX4" fmla="*/ 1057672 w 1254307"/>
                <a:gd name="connsiteY4" fmla="*/ 245793 h 298698"/>
                <a:gd name="connsiteX5" fmla="*/ 1058417 w 1254307"/>
                <a:gd name="connsiteY5" fmla="*/ 245420 h 298698"/>
                <a:gd name="connsiteX6" fmla="*/ 1058790 w 1254307"/>
                <a:gd name="connsiteY6" fmla="*/ 245048 h 298698"/>
                <a:gd name="connsiteX7" fmla="*/ 1058790 w 1254307"/>
                <a:gd name="connsiteY7" fmla="*/ 221958 h 298698"/>
                <a:gd name="connsiteX8" fmla="*/ 1221535 w 1254307"/>
                <a:gd name="connsiteY8" fmla="*/ 191793 h 298698"/>
                <a:gd name="connsiteX9" fmla="*/ 1196210 w 1254307"/>
                <a:gd name="connsiteY9" fmla="*/ 221958 h 298698"/>
                <a:gd name="connsiteX10" fmla="*/ 1219300 w 1254307"/>
                <a:gd name="connsiteY10" fmla="*/ 250262 h 298698"/>
                <a:gd name="connsiteX11" fmla="*/ 1236059 w 1254307"/>
                <a:gd name="connsiteY11" fmla="*/ 244676 h 298698"/>
                <a:gd name="connsiteX12" fmla="*/ 1236804 w 1254307"/>
                <a:gd name="connsiteY12" fmla="*/ 244303 h 298698"/>
                <a:gd name="connsiteX13" fmla="*/ 1237176 w 1254307"/>
                <a:gd name="connsiteY13" fmla="*/ 196634 h 298698"/>
                <a:gd name="connsiteX14" fmla="*/ 1236804 w 1254307"/>
                <a:gd name="connsiteY14" fmla="*/ 196262 h 298698"/>
                <a:gd name="connsiteX15" fmla="*/ 1221535 w 1254307"/>
                <a:gd name="connsiteY15" fmla="*/ 191793 h 298698"/>
                <a:gd name="connsiteX16" fmla="*/ 850239 w 1254307"/>
                <a:gd name="connsiteY16" fmla="*/ 191793 h 298698"/>
                <a:gd name="connsiteX17" fmla="*/ 827521 w 1254307"/>
                <a:gd name="connsiteY17" fmla="*/ 220841 h 298698"/>
                <a:gd name="connsiteX18" fmla="*/ 850983 w 1254307"/>
                <a:gd name="connsiteY18" fmla="*/ 250634 h 298698"/>
                <a:gd name="connsiteX19" fmla="*/ 873328 w 1254307"/>
                <a:gd name="connsiteY19" fmla="*/ 221586 h 298698"/>
                <a:gd name="connsiteX20" fmla="*/ 850239 w 1254307"/>
                <a:gd name="connsiteY20" fmla="*/ 191793 h 298698"/>
                <a:gd name="connsiteX21" fmla="*/ 761232 w 1254307"/>
                <a:gd name="connsiteY21" fmla="*/ 191793 h 298698"/>
                <a:gd name="connsiteX22" fmla="*/ 735907 w 1254307"/>
                <a:gd name="connsiteY22" fmla="*/ 221213 h 298698"/>
                <a:gd name="connsiteX23" fmla="*/ 758625 w 1254307"/>
                <a:gd name="connsiteY23" fmla="*/ 248772 h 298698"/>
                <a:gd name="connsiteX24" fmla="*/ 776500 w 1254307"/>
                <a:gd name="connsiteY24" fmla="*/ 242813 h 298698"/>
                <a:gd name="connsiteX25" fmla="*/ 776500 w 1254307"/>
                <a:gd name="connsiteY25" fmla="*/ 195144 h 298698"/>
                <a:gd name="connsiteX26" fmla="*/ 776128 w 1254307"/>
                <a:gd name="connsiteY26" fmla="*/ 194772 h 298698"/>
                <a:gd name="connsiteX27" fmla="*/ 761232 w 1254307"/>
                <a:gd name="connsiteY27" fmla="*/ 191793 h 298698"/>
                <a:gd name="connsiteX28" fmla="*/ 611893 w 1254307"/>
                <a:gd name="connsiteY28" fmla="*/ 190675 h 298698"/>
                <a:gd name="connsiteX29" fmla="*/ 589549 w 1254307"/>
                <a:gd name="connsiteY29" fmla="*/ 213020 h 298698"/>
                <a:gd name="connsiteX30" fmla="*/ 589549 w 1254307"/>
                <a:gd name="connsiteY30" fmla="*/ 213765 h 298698"/>
                <a:gd name="connsiteX31" fmla="*/ 630514 w 1254307"/>
                <a:gd name="connsiteY31" fmla="*/ 213765 h 298698"/>
                <a:gd name="connsiteX32" fmla="*/ 630514 w 1254307"/>
                <a:gd name="connsiteY32" fmla="*/ 213020 h 298698"/>
                <a:gd name="connsiteX33" fmla="*/ 611893 w 1254307"/>
                <a:gd name="connsiteY33" fmla="*/ 190675 h 298698"/>
                <a:gd name="connsiteX34" fmla="*/ 467770 w 1254307"/>
                <a:gd name="connsiteY34" fmla="*/ 178014 h 298698"/>
                <a:gd name="connsiteX35" fmla="*/ 493839 w 1254307"/>
                <a:gd name="connsiteY35" fmla="*/ 185090 h 298698"/>
                <a:gd name="connsiteX36" fmla="*/ 487880 w 1254307"/>
                <a:gd name="connsiteY36" fmla="*/ 195890 h 298698"/>
                <a:gd name="connsiteX37" fmla="*/ 468887 w 1254307"/>
                <a:gd name="connsiteY37" fmla="*/ 190676 h 298698"/>
                <a:gd name="connsiteX38" fmla="*/ 454735 w 1254307"/>
                <a:gd name="connsiteY38" fmla="*/ 201104 h 298698"/>
                <a:gd name="connsiteX39" fmla="*/ 469632 w 1254307"/>
                <a:gd name="connsiteY39" fmla="*/ 213766 h 298698"/>
                <a:gd name="connsiteX40" fmla="*/ 470749 w 1254307"/>
                <a:gd name="connsiteY40" fmla="*/ 214138 h 298698"/>
                <a:gd name="connsiteX41" fmla="*/ 494956 w 1254307"/>
                <a:gd name="connsiteY41" fmla="*/ 239835 h 298698"/>
                <a:gd name="connsiteX42" fmla="*/ 464046 w 1254307"/>
                <a:gd name="connsiteY42" fmla="*/ 264787 h 298698"/>
                <a:gd name="connsiteX43" fmla="*/ 434625 w 1254307"/>
                <a:gd name="connsiteY43" fmla="*/ 256593 h 298698"/>
                <a:gd name="connsiteX44" fmla="*/ 440584 w 1254307"/>
                <a:gd name="connsiteY44" fmla="*/ 245421 h 298698"/>
                <a:gd name="connsiteX45" fmla="*/ 462184 w 1254307"/>
                <a:gd name="connsiteY45" fmla="*/ 251752 h 298698"/>
                <a:gd name="connsiteX46" fmla="*/ 477453 w 1254307"/>
                <a:gd name="connsiteY46" fmla="*/ 240580 h 298698"/>
                <a:gd name="connsiteX47" fmla="*/ 461811 w 1254307"/>
                <a:gd name="connsiteY47" fmla="*/ 227545 h 298698"/>
                <a:gd name="connsiteX48" fmla="*/ 459204 w 1254307"/>
                <a:gd name="connsiteY48" fmla="*/ 226428 h 298698"/>
                <a:gd name="connsiteX49" fmla="*/ 437604 w 1254307"/>
                <a:gd name="connsiteY49" fmla="*/ 202221 h 298698"/>
                <a:gd name="connsiteX50" fmla="*/ 467770 w 1254307"/>
                <a:gd name="connsiteY50" fmla="*/ 178014 h 298698"/>
                <a:gd name="connsiteX51" fmla="*/ 1134762 w 1254307"/>
                <a:gd name="connsiteY51" fmla="*/ 177641 h 298698"/>
                <a:gd name="connsiteX52" fmla="*/ 1155245 w 1254307"/>
                <a:gd name="connsiteY52" fmla="*/ 185089 h 298698"/>
                <a:gd name="connsiteX53" fmla="*/ 1163438 w 1254307"/>
                <a:gd name="connsiteY53" fmla="*/ 215627 h 298698"/>
                <a:gd name="connsiteX54" fmla="*/ 1163438 w 1254307"/>
                <a:gd name="connsiteY54" fmla="*/ 262551 h 298698"/>
                <a:gd name="connsiteX55" fmla="*/ 1146307 w 1254307"/>
                <a:gd name="connsiteY55" fmla="*/ 262551 h 298698"/>
                <a:gd name="connsiteX56" fmla="*/ 1146307 w 1254307"/>
                <a:gd name="connsiteY56" fmla="*/ 217489 h 298698"/>
                <a:gd name="connsiteX57" fmla="*/ 1142210 w 1254307"/>
                <a:gd name="connsiteY57" fmla="*/ 196262 h 298698"/>
                <a:gd name="connsiteX58" fmla="*/ 1131038 w 1254307"/>
                <a:gd name="connsiteY58" fmla="*/ 192538 h 298698"/>
                <a:gd name="connsiteX59" fmla="*/ 1112045 w 1254307"/>
                <a:gd name="connsiteY59" fmla="*/ 198869 h 298698"/>
                <a:gd name="connsiteX60" fmla="*/ 1111672 w 1254307"/>
                <a:gd name="connsiteY60" fmla="*/ 199241 h 298698"/>
                <a:gd name="connsiteX61" fmla="*/ 1111672 w 1254307"/>
                <a:gd name="connsiteY61" fmla="*/ 262924 h 298698"/>
                <a:gd name="connsiteX62" fmla="*/ 1094169 w 1254307"/>
                <a:gd name="connsiteY62" fmla="*/ 262924 h 298698"/>
                <a:gd name="connsiteX63" fmla="*/ 1094169 w 1254307"/>
                <a:gd name="connsiteY63" fmla="*/ 180248 h 298698"/>
                <a:gd name="connsiteX64" fmla="*/ 1109066 w 1254307"/>
                <a:gd name="connsiteY64" fmla="*/ 180248 h 298698"/>
                <a:gd name="connsiteX65" fmla="*/ 1109066 w 1254307"/>
                <a:gd name="connsiteY65" fmla="*/ 187324 h 298698"/>
                <a:gd name="connsiteX66" fmla="*/ 1110183 w 1254307"/>
                <a:gd name="connsiteY66" fmla="*/ 186207 h 298698"/>
                <a:gd name="connsiteX67" fmla="*/ 1134762 w 1254307"/>
                <a:gd name="connsiteY67" fmla="*/ 177641 h 298698"/>
                <a:gd name="connsiteX68" fmla="*/ 1043148 w 1254307"/>
                <a:gd name="connsiteY68" fmla="*/ 177641 h 298698"/>
                <a:gd name="connsiteX69" fmla="*/ 1068845 w 1254307"/>
                <a:gd name="connsiteY69" fmla="*/ 186207 h 298698"/>
                <a:gd name="connsiteX70" fmla="*/ 1074804 w 1254307"/>
                <a:gd name="connsiteY70" fmla="*/ 211531 h 298698"/>
                <a:gd name="connsiteX71" fmla="*/ 1074804 w 1254307"/>
                <a:gd name="connsiteY71" fmla="*/ 262924 h 298698"/>
                <a:gd name="connsiteX72" fmla="*/ 1059907 w 1254307"/>
                <a:gd name="connsiteY72" fmla="*/ 262924 h 298698"/>
                <a:gd name="connsiteX73" fmla="*/ 1059907 w 1254307"/>
                <a:gd name="connsiteY73" fmla="*/ 255848 h 298698"/>
                <a:gd name="connsiteX74" fmla="*/ 1058790 w 1254307"/>
                <a:gd name="connsiteY74" fmla="*/ 256593 h 298698"/>
                <a:gd name="connsiteX75" fmla="*/ 1034583 w 1254307"/>
                <a:gd name="connsiteY75" fmla="*/ 264414 h 298698"/>
                <a:gd name="connsiteX76" fmla="*/ 1008514 w 1254307"/>
                <a:gd name="connsiteY76" fmla="*/ 238717 h 298698"/>
                <a:gd name="connsiteX77" fmla="*/ 1055066 w 1254307"/>
                <a:gd name="connsiteY77" fmla="*/ 210041 h 298698"/>
                <a:gd name="connsiteX78" fmla="*/ 1058790 w 1254307"/>
                <a:gd name="connsiteY78" fmla="*/ 210041 h 298698"/>
                <a:gd name="connsiteX79" fmla="*/ 1058790 w 1254307"/>
                <a:gd name="connsiteY79" fmla="*/ 205945 h 298698"/>
                <a:gd name="connsiteX80" fmla="*/ 1055810 w 1254307"/>
                <a:gd name="connsiteY80" fmla="*/ 194772 h 298698"/>
                <a:gd name="connsiteX81" fmla="*/ 1041659 w 1254307"/>
                <a:gd name="connsiteY81" fmla="*/ 190676 h 298698"/>
                <a:gd name="connsiteX82" fmla="*/ 1019314 w 1254307"/>
                <a:gd name="connsiteY82" fmla="*/ 197007 h 298698"/>
                <a:gd name="connsiteX83" fmla="*/ 1013355 w 1254307"/>
                <a:gd name="connsiteY83" fmla="*/ 186207 h 298698"/>
                <a:gd name="connsiteX84" fmla="*/ 1043148 w 1254307"/>
                <a:gd name="connsiteY84" fmla="*/ 177641 h 298698"/>
                <a:gd name="connsiteX85" fmla="*/ 851356 w 1254307"/>
                <a:gd name="connsiteY85" fmla="*/ 177641 h 298698"/>
                <a:gd name="connsiteX86" fmla="*/ 891204 w 1254307"/>
                <a:gd name="connsiteY86" fmla="*/ 220469 h 298698"/>
                <a:gd name="connsiteX87" fmla="*/ 849866 w 1254307"/>
                <a:gd name="connsiteY87" fmla="*/ 264413 h 298698"/>
                <a:gd name="connsiteX88" fmla="*/ 810018 w 1254307"/>
                <a:gd name="connsiteY88" fmla="*/ 221586 h 298698"/>
                <a:gd name="connsiteX89" fmla="*/ 851356 w 1254307"/>
                <a:gd name="connsiteY89" fmla="*/ 177641 h 298698"/>
                <a:gd name="connsiteX90" fmla="*/ 761604 w 1254307"/>
                <a:gd name="connsiteY90" fmla="*/ 177641 h 298698"/>
                <a:gd name="connsiteX91" fmla="*/ 793631 w 1254307"/>
                <a:gd name="connsiteY91" fmla="*/ 185834 h 298698"/>
                <a:gd name="connsiteX92" fmla="*/ 793631 w 1254307"/>
                <a:gd name="connsiteY92" fmla="*/ 259200 h 298698"/>
                <a:gd name="connsiteX93" fmla="*/ 785438 w 1254307"/>
                <a:gd name="connsiteY93" fmla="*/ 288248 h 298698"/>
                <a:gd name="connsiteX94" fmla="*/ 756390 w 1254307"/>
                <a:gd name="connsiteY94" fmla="*/ 298675 h 298698"/>
                <a:gd name="connsiteX95" fmla="*/ 721756 w 1254307"/>
                <a:gd name="connsiteY95" fmla="*/ 287503 h 298698"/>
                <a:gd name="connsiteX96" fmla="*/ 728832 w 1254307"/>
                <a:gd name="connsiteY96" fmla="*/ 276331 h 298698"/>
                <a:gd name="connsiteX97" fmla="*/ 754528 w 1254307"/>
                <a:gd name="connsiteY97" fmla="*/ 284524 h 298698"/>
                <a:gd name="connsiteX98" fmla="*/ 770914 w 1254307"/>
                <a:gd name="connsiteY98" fmla="*/ 279682 h 298698"/>
                <a:gd name="connsiteX99" fmla="*/ 776873 w 1254307"/>
                <a:gd name="connsiteY99" fmla="*/ 259944 h 298698"/>
                <a:gd name="connsiteX100" fmla="*/ 776873 w 1254307"/>
                <a:gd name="connsiteY100" fmla="*/ 256220 h 298698"/>
                <a:gd name="connsiteX101" fmla="*/ 775756 w 1254307"/>
                <a:gd name="connsiteY101" fmla="*/ 256965 h 298698"/>
                <a:gd name="connsiteX102" fmla="*/ 775011 w 1254307"/>
                <a:gd name="connsiteY102" fmla="*/ 257338 h 298698"/>
                <a:gd name="connsiteX103" fmla="*/ 754901 w 1254307"/>
                <a:gd name="connsiteY103" fmla="*/ 262551 h 298698"/>
                <a:gd name="connsiteX104" fmla="*/ 718404 w 1254307"/>
                <a:gd name="connsiteY104" fmla="*/ 221958 h 298698"/>
                <a:gd name="connsiteX105" fmla="*/ 761604 w 1254307"/>
                <a:gd name="connsiteY105" fmla="*/ 177641 h 298698"/>
                <a:gd name="connsiteX106" fmla="*/ 706487 w 1254307"/>
                <a:gd name="connsiteY106" fmla="*/ 177641 h 298698"/>
                <a:gd name="connsiteX107" fmla="*/ 714680 w 1254307"/>
                <a:gd name="connsiteY107" fmla="*/ 179131 h 298698"/>
                <a:gd name="connsiteX108" fmla="*/ 710583 w 1254307"/>
                <a:gd name="connsiteY108" fmla="*/ 192538 h 298698"/>
                <a:gd name="connsiteX109" fmla="*/ 705370 w 1254307"/>
                <a:gd name="connsiteY109" fmla="*/ 192165 h 298698"/>
                <a:gd name="connsiteX110" fmla="*/ 680418 w 1254307"/>
                <a:gd name="connsiteY110" fmla="*/ 205572 h 298698"/>
                <a:gd name="connsiteX111" fmla="*/ 680418 w 1254307"/>
                <a:gd name="connsiteY111" fmla="*/ 262551 h 298698"/>
                <a:gd name="connsiteX112" fmla="*/ 663287 w 1254307"/>
                <a:gd name="connsiteY112" fmla="*/ 262551 h 298698"/>
                <a:gd name="connsiteX113" fmla="*/ 663287 w 1254307"/>
                <a:gd name="connsiteY113" fmla="*/ 180248 h 298698"/>
                <a:gd name="connsiteX114" fmla="*/ 678184 w 1254307"/>
                <a:gd name="connsiteY114" fmla="*/ 180248 h 298698"/>
                <a:gd name="connsiteX115" fmla="*/ 678184 w 1254307"/>
                <a:gd name="connsiteY115" fmla="*/ 192910 h 298698"/>
                <a:gd name="connsiteX116" fmla="*/ 679673 w 1254307"/>
                <a:gd name="connsiteY116" fmla="*/ 190303 h 298698"/>
                <a:gd name="connsiteX117" fmla="*/ 706487 w 1254307"/>
                <a:gd name="connsiteY117" fmla="*/ 177641 h 298698"/>
                <a:gd name="connsiteX118" fmla="*/ 611521 w 1254307"/>
                <a:gd name="connsiteY118" fmla="*/ 177641 h 298698"/>
                <a:gd name="connsiteX119" fmla="*/ 646900 w 1254307"/>
                <a:gd name="connsiteY119" fmla="*/ 220096 h 298698"/>
                <a:gd name="connsiteX120" fmla="*/ 646528 w 1254307"/>
                <a:gd name="connsiteY120" fmla="*/ 224565 h 298698"/>
                <a:gd name="connsiteX121" fmla="*/ 646528 w 1254307"/>
                <a:gd name="connsiteY121" fmla="*/ 226055 h 298698"/>
                <a:gd name="connsiteX122" fmla="*/ 589549 w 1254307"/>
                <a:gd name="connsiteY122" fmla="*/ 226055 h 298698"/>
                <a:gd name="connsiteX123" fmla="*/ 589549 w 1254307"/>
                <a:gd name="connsiteY123" fmla="*/ 226800 h 298698"/>
                <a:gd name="connsiteX124" fmla="*/ 589549 w 1254307"/>
                <a:gd name="connsiteY124" fmla="*/ 228662 h 298698"/>
                <a:gd name="connsiteX125" fmla="*/ 614128 w 1254307"/>
                <a:gd name="connsiteY125" fmla="*/ 250634 h 298698"/>
                <a:gd name="connsiteX126" fmla="*/ 636845 w 1254307"/>
                <a:gd name="connsiteY126" fmla="*/ 244675 h 298698"/>
                <a:gd name="connsiteX127" fmla="*/ 642804 w 1254307"/>
                <a:gd name="connsiteY127" fmla="*/ 255848 h 298698"/>
                <a:gd name="connsiteX128" fmla="*/ 612638 w 1254307"/>
                <a:gd name="connsiteY128" fmla="*/ 264413 h 298698"/>
                <a:gd name="connsiteX129" fmla="*/ 572790 w 1254307"/>
                <a:gd name="connsiteY129" fmla="*/ 221586 h 298698"/>
                <a:gd name="connsiteX130" fmla="*/ 611521 w 1254307"/>
                <a:gd name="connsiteY130" fmla="*/ 177641 h 298698"/>
                <a:gd name="connsiteX131" fmla="*/ 372060 w 1254307"/>
                <a:gd name="connsiteY131" fmla="*/ 164979 h 298698"/>
                <a:gd name="connsiteX132" fmla="*/ 339287 w 1254307"/>
                <a:gd name="connsiteY132" fmla="*/ 208179 h 298698"/>
                <a:gd name="connsiteX133" fmla="*/ 373177 w 1254307"/>
                <a:gd name="connsiteY133" fmla="*/ 250262 h 298698"/>
                <a:gd name="connsiteX134" fmla="*/ 406322 w 1254307"/>
                <a:gd name="connsiteY134" fmla="*/ 206689 h 298698"/>
                <a:gd name="connsiteX135" fmla="*/ 372060 w 1254307"/>
                <a:gd name="connsiteY135" fmla="*/ 164979 h 298698"/>
                <a:gd name="connsiteX136" fmla="*/ 915038 w 1254307"/>
                <a:gd name="connsiteY136" fmla="*/ 156041 h 298698"/>
                <a:gd name="connsiteX137" fmla="*/ 932541 w 1254307"/>
                <a:gd name="connsiteY137" fmla="*/ 156041 h 298698"/>
                <a:gd name="connsiteX138" fmla="*/ 932541 w 1254307"/>
                <a:gd name="connsiteY138" fmla="*/ 180248 h 298698"/>
                <a:gd name="connsiteX139" fmla="*/ 957121 w 1254307"/>
                <a:gd name="connsiteY139" fmla="*/ 180248 h 298698"/>
                <a:gd name="connsiteX140" fmla="*/ 957121 w 1254307"/>
                <a:gd name="connsiteY140" fmla="*/ 194027 h 298698"/>
                <a:gd name="connsiteX141" fmla="*/ 932541 w 1254307"/>
                <a:gd name="connsiteY141" fmla="*/ 194027 h 298698"/>
                <a:gd name="connsiteX142" fmla="*/ 932541 w 1254307"/>
                <a:gd name="connsiteY142" fmla="*/ 234248 h 298698"/>
                <a:gd name="connsiteX143" fmla="*/ 944459 w 1254307"/>
                <a:gd name="connsiteY143" fmla="*/ 250262 h 298698"/>
                <a:gd name="connsiteX144" fmla="*/ 955259 w 1254307"/>
                <a:gd name="connsiteY144" fmla="*/ 248027 h 298698"/>
                <a:gd name="connsiteX145" fmla="*/ 959728 w 1254307"/>
                <a:gd name="connsiteY145" fmla="*/ 259944 h 298698"/>
                <a:gd name="connsiteX146" fmla="*/ 940735 w 1254307"/>
                <a:gd name="connsiteY146" fmla="*/ 264786 h 298698"/>
                <a:gd name="connsiteX147" fmla="*/ 920997 w 1254307"/>
                <a:gd name="connsiteY147" fmla="*/ 258082 h 298698"/>
                <a:gd name="connsiteX148" fmla="*/ 915038 w 1254307"/>
                <a:gd name="connsiteY148" fmla="*/ 234248 h 298698"/>
                <a:gd name="connsiteX149" fmla="*/ 915038 w 1254307"/>
                <a:gd name="connsiteY149" fmla="*/ 194027 h 298698"/>
                <a:gd name="connsiteX150" fmla="*/ 900514 w 1254307"/>
                <a:gd name="connsiteY150" fmla="*/ 194027 h 298698"/>
                <a:gd name="connsiteX151" fmla="*/ 900514 w 1254307"/>
                <a:gd name="connsiteY151" fmla="*/ 180248 h 298698"/>
                <a:gd name="connsiteX152" fmla="*/ 915038 w 1254307"/>
                <a:gd name="connsiteY152" fmla="*/ 180248 h 298698"/>
                <a:gd name="connsiteX153" fmla="*/ 519163 w 1254307"/>
                <a:gd name="connsiteY153" fmla="*/ 156041 h 298698"/>
                <a:gd name="connsiteX154" fmla="*/ 536667 w 1254307"/>
                <a:gd name="connsiteY154" fmla="*/ 156041 h 298698"/>
                <a:gd name="connsiteX155" fmla="*/ 536667 w 1254307"/>
                <a:gd name="connsiteY155" fmla="*/ 180248 h 298698"/>
                <a:gd name="connsiteX156" fmla="*/ 561246 w 1254307"/>
                <a:gd name="connsiteY156" fmla="*/ 180248 h 298698"/>
                <a:gd name="connsiteX157" fmla="*/ 561246 w 1254307"/>
                <a:gd name="connsiteY157" fmla="*/ 194027 h 298698"/>
                <a:gd name="connsiteX158" fmla="*/ 536667 w 1254307"/>
                <a:gd name="connsiteY158" fmla="*/ 194027 h 298698"/>
                <a:gd name="connsiteX159" fmla="*/ 536667 w 1254307"/>
                <a:gd name="connsiteY159" fmla="*/ 234248 h 298698"/>
                <a:gd name="connsiteX160" fmla="*/ 548956 w 1254307"/>
                <a:gd name="connsiteY160" fmla="*/ 250262 h 298698"/>
                <a:gd name="connsiteX161" fmla="*/ 559756 w 1254307"/>
                <a:gd name="connsiteY161" fmla="*/ 248027 h 298698"/>
                <a:gd name="connsiteX162" fmla="*/ 564225 w 1254307"/>
                <a:gd name="connsiteY162" fmla="*/ 259944 h 298698"/>
                <a:gd name="connsiteX163" fmla="*/ 544860 w 1254307"/>
                <a:gd name="connsiteY163" fmla="*/ 264786 h 298698"/>
                <a:gd name="connsiteX164" fmla="*/ 525122 w 1254307"/>
                <a:gd name="connsiteY164" fmla="*/ 258082 h 298698"/>
                <a:gd name="connsiteX165" fmla="*/ 519163 w 1254307"/>
                <a:gd name="connsiteY165" fmla="*/ 234248 h 298698"/>
                <a:gd name="connsiteX166" fmla="*/ 519163 w 1254307"/>
                <a:gd name="connsiteY166" fmla="*/ 194027 h 298698"/>
                <a:gd name="connsiteX167" fmla="*/ 504639 w 1254307"/>
                <a:gd name="connsiteY167" fmla="*/ 194027 h 298698"/>
                <a:gd name="connsiteX168" fmla="*/ 504639 w 1254307"/>
                <a:gd name="connsiteY168" fmla="*/ 180248 h 298698"/>
                <a:gd name="connsiteX169" fmla="*/ 519163 w 1254307"/>
                <a:gd name="connsiteY169" fmla="*/ 180248 h 298698"/>
                <a:gd name="connsiteX170" fmla="*/ 976114 w 1254307"/>
                <a:gd name="connsiteY170" fmla="*/ 150828 h 298698"/>
                <a:gd name="connsiteX171" fmla="*/ 993617 w 1254307"/>
                <a:gd name="connsiteY171" fmla="*/ 150828 h 298698"/>
                <a:gd name="connsiteX172" fmla="*/ 993617 w 1254307"/>
                <a:gd name="connsiteY172" fmla="*/ 262552 h 298698"/>
                <a:gd name="connsiteX173" fmla="*/ 976114 w 1254307"/>
                <a:gd name="connsiteY173" fmla="*/ 262552 h 298698"/>
                <a:gd name="connsiteX174" fmla="*/ 866252 w 1254307"/>
                <a:gd name="connsiteY174" fmla="*/ 150828 h 298698"/>
                <a:gd name="connsiteX175" fmla="*/ 875935 w 1254307"/>
                <a:gd name="connsiteY175" fmla="*/ 160883 h 298698"/>
                <a:gd name="connsiteX176" fmla="*/ 866252 w 1254307"/>
                <a:gd name="connsiteY176" fmla="*/ 170566 h 298698"/>
                <a:gd name="connsiteX177" fmla="*/ 856569 w 1254307"/>
                <a:gd name="connsiteY177" fmla="*/ 160511 h 298698"/>
                <a:gd name="connsiteX178" fmla="*/ 866252 w 1254307"/>
                <a:gd name="connsiteY178" fmla="*/ 150828 h 298698"/>
                <a:gd name="connsiteX179" fmla="*/ 834597 w 1254307"/>
                <a:gd name="connsiteY179" fmla="*/ 150828 h 298698"/>
                <a:gd name="connsiteX180" fmla="*/ 844652 w 1254307"/>
                <a:gd name="connsiteY180" fmla="*/ 160511 h 298698"/>
                <a:gd name="connsiteX181" fmla="*/ 834969 w 1254307"/>
                <a:gd name="connsiteY181" fmla="*/ 170566 h 298698"/>
                <a:gd name="connsiteX182" fmla="*/ 824914 w 1254307"/>
                <a:gd name="connsiteY182" fmla="*/ 160883 h 298698"/>
                <a:gd name="connsiteX183" fmla="*/ 834597 w 1254307"/>
                <a:gd name="connsiteY183" fmla="*/ 150828 h 298698"/>
                <a:gd name="connsiteX184" fmla="*/ 1254307 w 1254307"/>
                <a:gd name="connsiteY184" fmla="*/ 150455 h 298698"/>
                <a:gd name="connsiteX185" fmla="*/ 1254307 w 1254307"/>
                <a:gd name="connsiteY185" fmla="*/ 262179 h 298698"/>
                <a:gd name="connsiteX186" fmla="*/ 1239410 w 1254307"/>
                <a:gd name="connsiteY186" fmla="*/ 262179 h 298698"/>
                <a:gd name="connsiteX187" fmla="*/ 1239410 w 1254307"/>
                <a:gd name="connsiteY187" fmla="*/ 255476 h 298698"/>
                <a:gd name="connsiteX188" fmla="*/ 1237921 w 1254307"/>
                <a:gd name="connsiteY188" fmla="*/ 256593 h 298698"/>
                <a:gd name="connsiteX189" fmla="*/ 1215576 w 1254307"/>
                <a:gd name="connsiteY189" fmla="*/ 264414 h 298698"/>
                <a:gd name="connsiteX190" fmla="*/ 1178707 w 1254307"/>
                <a:gd name="connsiteY190" fmla="*/ 222331 h 298698"/>
                <a:gd name="connsiteX191" fmla="*/ 1218555 w 1254307"/>
                <a:gd name="connsiteY191" fmla="*/ 177641 h 298698"/>
                <a:gd name="connsiteX192" fmla="*/ 1235686 w 1254307"/>
                <a:gd name="connsiteY192" fmla="*/ 181738 h 298698"/>
                <a:gd name="connsiteX193" fmla="*/ 1236804 w 1254307"/>
                <a:gd name="connsiteY193" fmla="*/ 182483 h 298698"/>
                <a:gd name="connsiteX194" fmla="*/ 1236804 w 1254307"/>
                <a:gd name="connsiteY194" fmla="*/ 181365 h 298698"/>
                <a:gd name="connsiteX195" fmla="*/ 1236804 w 1254307"/>
                <a:gd name="connsiteY195" fmla="*/ 150827 h 298698"/>
                <a:gd name="connsiteX196" fmla="*/ 373177 w 1254307"/>
                <a:gd name="connsiteY196" fmla="*/ 150455 h 298698"/>
                <a:gd name="connsiteX197" fmla="*/ 424942 w 1254307"/>
                <a:gd name="connsiteY197" fmla="*/ 206689 h 298698"/>
                <a:gd name="connsiteX198" fmla="*/ 372804 w 1254307"/>
                <a:gd name="connsiteY198" fmla="*/ 264786 h 298698"/>
                <a:gd name="connsiteX199" fmla="*/ 321039 w 1254307"/>
                <a:gd name="connsiteY199" fmla="*/ 207434 h 298698"/>
                <a:gd name="connsiteX200" fmla="*/ 373177 w 1254307"/>
                <a:gd name="connsiteY200" fmla="*/ 150455 h 298698"/>
                <a:gd name="connsiteX201" fmla="*/ 388446 w 1254307"/>
                <a:gd name="connsiteY201" fmla="*/ 123269 h 298698"/>
                <a:gd name="connsiteX202" fmla="*/ 397756 w 1254307"/>
                <a:gd name="connsiteY202" fmla="*/ 133697 h 298698"/>
                <a:gd name="connsiteX203" fmla="*/ 388446 w 1254307"/>
                <a:gd name="connsiteY203" fmla="*/ 143007 h 298698"/>
                <a:gd name="connsiteX204" fmla="*/ 379135 w 1254307"/>
                <a:gd name="connsiteY204" fmla="*/ 132579 h 298698"/>
                <a:gd name="connsiteX205" fmla="*/ 388446 w 1254307"/>
                <a:gd name="connsiteY205" fmla="*/ 123269 h 298698"/>
                <a:gd name="connsiteX206" fmla="*/ 357163 w 1254307"/>
                <a:gd name="connsiteY206" fmla="*/ 123269 h 298698"/>
                <a:gd name="connsiteX207" fmla="*/ 367218 w 1254307"/>
                <a:gd name="connsiteY207" fmla="*/ 132952 h 298698"/>
                <a:gd name="connsiteX208" fmla="*/ 367218 w 1254307"/>
                <a:gd name="connsiteY208" fmla="*/ 133324 h 298698"/>
                <a:gd name="connsiteX209" fmla="*/ 357535 w 1254307"/>
                <a:gd name="connsiteY209" fmla="*/ 143007 h 298698"/>
                <a:gd name="connsiteX210" fmla="*/ 347480 w 1254307"/>
                <a:gd name="connsiteY210" fmla="*/ 133324 h 298698"/>
                <a:gd name="connsiteX211" fmla="*/ 357163 w 1254307"/>
                <a:gd name="connsiteY211" fmla="*/ 123269 h 298698"/>
                <a:gd name="connsiteX212" fmla="*/ 465535 w 1254307"/>
                <a:gd name="connsiteY212" fmla="*/ 61820 h 298698"/>
                <a:gd name="connsiteX213" fmla="*/ 450266 w 1254307"/>
                <a:gd name="connsiteY213" fmla="*/ 79324 h 298698"/>
                <a:gd name="connsiteX214" fmla="*/ 464045 w 1254307"/>
                <a:gd name="connsiteY214" fmla="*/ 95710 h 298698"/>
                <a:gd name="connsiteX215" fmla="*/ 474845 w 1254307"/>
                <a:gd name="connsiteY215" fmla="*/ 91986 h 298698"/>
                <a:gd name="connsiteX216" fmla="*/ 474845 w 1254307"/>
                <a:gd name="connsiteY216" fmla="*/ 63683 h 298698"/>
                <a:gd name="connsiteX217" fmla="*/ 474473 w 1254307"/>
                <a:gd name="connsiteY217" fmla="*/ 63683 h 298698"/>
                <a:gd name="connsiteX218" fmla="*/ 465535 w 1254307"/>
                <a:gd name="connsiteY218" fmla="*/ 61820 h 298698"/>
                <a:gd name="connsiteX219" fmla="*/ 546721 w 1254307"/>
                <a:gd name="connsiteY219" fmla="*/ 61448 h 298698"/>
                <a:gd name="connsiteX220" fmla="*/ 532942 w 1254307"/>
                <a:gd name="connsiteY220" fmla="*/ 78952 h 298698"/>
                <a:gd name="connsiteX221" fmla="*/ 547094 w 1254307"/>
                <a:gd name="connsiteY221" fmla="*/ 96828 h 298698"/>
                <a:gd name="connsiteX222" fmla="*/ 560873 w 1254307"/>
                <a:gd name="connsiteY222" fmla="*/ 79324 h 298698"/>
                <a:gd name="connsiteX223" fmla="*/ 546721 w 1254307"/>
                <a:gd name="connsiteY223" fmla="*/ 61448 h 298698"/>
                <a:gd name="connsiteX224" fmla="*/ 409301 w 1254307"/>
                <a:gd name="connsiteY224" fmla="*/ 61076 h 298698"/>
                <a:gd name="connsiteX225" fmla="*/ 395894 w 1254307"/>
                <a:gd name="connsiteY225" fmla="*/ 74483 h 298698"/>
                <a:gd name="connsiteX226" fmla="*/ 395894 w 1254307"/>
                <a:gd name="connsiteY226" fmla="*/ 75228 h 298698"/>
                <a:gd name="connsiteX227" fmla="*/ 420474 w 1254307"/>
                <a:gd name="connsiteY227" fmla="*/ 75228 h 298698"/>
                <a:gd name="connsiteX228" fmla="*/ 420474 w 1254307"/>
                <a:gd name="connsiteY228" fmla="*/ 74483 h 298698"/>
                <a:gd name="connsiteX229" fmla="*/ 409301 w 1254307"/>
                <a:gd name="connsiteY229" fmla="*/ 61076 h 298698"/>
                <a:gd name="connsiteX230" fmla="*/ 500170 w 1254307"/>
                <a:gd name="connsiteY230" fmla="*/ 57724 h 298698"/>
                <a:gd name="connsiteX231" fmla="*/ 509853 w 1254307"/>
                <a:gd name="connsiteY231" fmla="*/ 57724 h 298698"/>
                <a:gd name="connsiteX232" fmla="*/ 509853 w 1254307"/>
                <a:gd name="connsiteY232" fmla="*/ 103531 h 298698"/>
                <a:gd name="connsiteX233" fmla="*/ 500170 w 1254307"/>
                <a:gd name="connsiteY233" fmla="*/ 103531 h 298698"/>
                <a:gd name="connsiteX234" fmla="*/ 606680 w 1254307"/>
                <a:gd name="connsiteY234" fmla="*/ 54000 h 298698"/>
                <a:gd name="connsiteX235" fmla="*/ 618597 w 1254307"/>
                <a:gd name="connsiteY235" fmla="*/ 58469 h 298698"/>
                <a:gd name="connsiteX236" fmla="*/ 623439 w 1254307"/>
                <a:gd name="connsiteY236" fmla="*/ 76345 h 298698"/>
                <a:gd name="connsiteX237" fmla="*/ 623439 w 1254307"/>
                <a:gd name="connsiteY237" fmla="*/ 103904 h 298698"/>
                <a:gd name="connsiteX238" fmla="*/ 614128 w 1254307"/>
                <a:gd name="connsiteY238" fmla="*/ 103904 h 298698"/>
                <a:gd name="connsiteX239" fmla="*/ 614128 w 1254307"/>
                <a:gd name="connsiteY239" fmla="*/ 103531 h 298698"/>
                <a:gd name="connsiteX240" fmla="*/ 614128 w 1254307"/>
                <a:gd name="connsiteY240" fmla="*/ 77090 h 298698"/>
                <a:gd name="connsiteX241" fmla="*/ 611521 w 1254307"/>
                <a:gd name="connsiteY241" fmla="*/ 64428 h 298698"/>
                <a:gd name="connsiteX242" fmla="*/ 604818 w 1254307"/>
                <a:gd name="connsiteY242" fmla="*/ 62193 h 298698"/>
                <a:gd name="connsiteX243" fmla="*/ 593273 w 1254307"/>
                <a:gd name="connsiteY243" fmla="*/ 65917 h 298698"/>
                <a:gd name="connsiteX244" fmla="*/ 592901 w 1254307"/>
                <a:gd name="connsiteY244" fmla="*/ 65917 h 298698"/>
                <a:gd name="connsiteX245" fmla="*/ 592901 w 1254307"/>
                <a:gd name="connsiteY245" fmla="*/ 103531 h 298698"/>
                <a:gd name="connsiteX246" fmla="*/ 583218 w 1254307"/>
                <a:gd name="connsiteY246" fmla="*/ 103531 h 298698"/>
                <a:gd name="connsiteX247" fmla="*/ 583218 w 1254307"/>
                <a:gd name="connsiteY247" fmla="*/ 55490 h 298698"/>
                <a:gd name="connsiteX248" fmla="*/ 591411 w 1254307"/>
                <a:gd name="connsiteY248" fmla="*/ 55490 h 298698"/>
                <a:gd name="connsiteX249" fmla="*/ 591411 w 1254307"/>
                <a:gd name="connsiteY249" fmla="*/ 59586 h 298698"/>
                <a:gd name="connsiteX250" fmla="*/ 592528 w 1254307"/>
                <a:gd name="connsiteY250" fmla="*/ 58842 h 298698"/>
                <a:gd name="connsiteX251" fmla="*/ 606680 w 1254307"/>
                <a:gd name="connsiteY251" fmla="*/ 54000 h 298698"/>
                <a:gd name="connsiteX252" fmla="*/ 547094 w 1254307"/>
                <a:gd name="connsiteY252" fmla="*/ 54000 h 298698"/>
                <a:gd name="connsiteX253" fmla="*/ 570183 w 1254307"/>
                <a:gd name="connsiteY253" fmla="*/ 79324 h 298698"/>
                <a:gd name="connsiteX254" fmla="*/ 545977 w 1254307"/>
                <a:gd name="connsiteY254" fmla="*/ 105021 h 298698"/>
                <a:gd name="connsiteX255" fmla="*/ 522887 w 1254307"/>
                <a:gd name="connsiteY255" fmla="*/ 79697 h 298698"/>
                <a:gd name="connsiteX256" fmla="*/ 547094 w 1254307"/>
                <a:gd name="connsiteY256" fmla="*/ 54000 h 298698"/>
                <a:gd name="connsiteX257" fmla="*/ 409301 w 1254307"/>
                <a:gd name="connsiteY257" fmla="*/ 54000 h 298698"/>
                <a:gd name="connsiteX258" fmla="*/ 429412 w 1254307"/>
                <a:gd name="connsiteY258" fmla="*/ 78579 h 298698"/>
                <a:gd name="connsiteX259" fmla="*/ 429412 w 1254307"/>
                <a:gd name="connsiteY259" fmla="*/ 81186 h 298698"/>
                <a:gd name="connsiteX260" fmla="*/ 429412 w 1254307"/>
                <a:gd name="connsiteY260" fmla="*/ 81931 h 298698"/>
                <a:gd name="connsiteX261" fmla="*/ 395894 w 1254307"/>
                <a:gd name="connsiteY261" fmla="*/ 81931 h 298698"/>
                <a:gd name="connsiteX262" fmla="*/ 395894 w 1254307"/>
                <a:gd name="connsiteY262" fmla="*/ 82676 h 298698"/>
                <a:gd name="connsiteX263" fmla="*/ 395894 w 1254307"/>
                <a:gd name="connsiteY263" fmla="*/ 84166 h 298698"/>
                <a:gd name="connsiteX264" fmla="*/ 410791 w 1254307"/>
                <a:gd name="connsiteY264" fmla="*/ 97200 h 298698"/>
                <a:gd name="connsiteX265" fmla="*/ 424198 w 1254307"/>
                <a:gd name="connsiteY265" fmla="*/ 93476 h 298698"/>
                <a:gd name="connsiteX266" fmla="*/ 427549 w 1254307"/>
                <a:gd name="connsiteY266" fmla="*/ 99807 h 298698"/>
                <a:gd name="connsiteX267" fmla="*/ 410046 w 1254307"/>
                <a:gd name="connsiteY267" fmla="*/ 104648 h 298698"/>
                <a:gd name="connsiteX268" fmla="*/ 386584 w 1254307"/>
                <a:gd name="connsiteY268" fmla="*/ 79697 h 298698"/>
                <a:gd name="connsiteX269" fmla="*/ 409301 w 1254307"/>
                <a:gd name="connsiteY269" fmla="*/ 54000 h 298698"/>
                <a:gd name="connsiteX270" fmla="*/ 465907 w 1254307"/>
                <a:gd name="connsiteY270" fmla="*/ 53627 h 298698"/>
                <a:gd name="connsiteX271" fmla="*/ 484528 w 1254307"/>
                <a:gd name="connsiteY271" fmla="*/ 58469 h 298698"/>
                <a:gd name="connsiteX272" fmla="*/ 484528 w 1254307"/>
                <a:gd name="connsiteY272" fmla="*/ 103531 h 298698"/>
                <a:gd name="connsiteX273" fmla="*/ 479686 w 1254307"/>
                <a:gd name="connsiteY273" fmla="*/ 120662 h 298698"/>
                <a:gd name="connsiteX274" fmla="*/ 462555 w 1254307"/>
                <a:gd name="connsiteY274" fmla="*/ 126620 h 298698"/>
                <a:gd name="connsiteX275" fmla="*/ 442445 w 1254307"/>
                <a:gd name="connsiteY275" fmla="*/ 120289 h 298698"/>
                <a:gd name="connsiteX276" fmla="*/ 446542 w 1254307"/>
                <a:gd name="connsiteY276" fmla="*/ 113958 h 298698"/>
                <a:gd name="connsiteX277" fmla="*/ 461438 w 1254307"/>
                <a:gd name="connsiteY277" fmla="*/ 119172 h 298698"/>
                <a:gd name="connsiteX278" fmla="*/ 471121 w 1254307"/>
                <a:gd name="connsiteY278" fmla="*/ 115448 h 298698"/>
                <a:gd name="connsiteX279" fmla="*/ 474845 w 1254307"/>
                <a:gd name="connsiteY279" fmla="*/ 103531 h 298698"/>
                <a:gd name="connsiteX280" fmla="*/ 474845 w 1254307"/>
                <a:gd name="connsiteY280" fmla="*/ 99807 h 298698"/>
                <a:gd name="connsiteX281" fmla="*/ 473728 w 1254307"/>
                <a:gd name="connsiteY281" fmla="*/ 100179 h 298698"/>
                <a:gd name="connsiteX282" fmla="*/ 473355 w 1254307"/>
                <a:gd name="connsiteY282" fmla="*/ 100551 h 298698"/>
                <a:gd name="connsiteX283" fmla="*/ 461811 w 1254307"/>
                <a:gd name="connsiteY283" fmla="*/ 103531 h 298698"/>
                <a:gd name="connsiteX284" fmla="*/ 440583 w 1254307"/>
                <a:gd name="connsiteY284" fmla="*/ 79696 h 298698"/>
                <a:gd name="connsiteX285" fmla="*/ 440583 w 1254307"/>
                <a:gd name="connsiteY285" fmla="*/ 77834 h 298698"/>
                <a:gd name="connsiteX286" fmla="*/ 465907 w 1254307"/>
                <a:gd name="connsiteY286" fmla="*/ 53627 h 298698"/>
                <a:gd name="connsiteX287" fmla="*/ 342267 w 1254307"/>
                <a:gd name="connsiteY287" fmla="*/ 45807 h 298698"/>
                <a:gd name="connsiteX288" fmla="*/ 342267 w 1254307"/>
                <a:gd name="connsiteY288" fmla="*/ 68152 h 298698"/>
                <a:gd name="connsiteX289" fmla="*/ 347480 w 1254307"/>
                <a:gd name="connsiteY289" fmla="*/ 68152 h 298698"/>
                <a:gd name="connsiteX290" fmla="*/ 360887 w 1254307"/>
                <a:gd name="connsiteY290" fmla="*/ 64800 h 298698"/>
                <a:gd name="connsiteX291" fmla="*/ 361260 w 1254307"/>
                <a:gd name="connsiteY291" fmla="*/ 48786 h 298698"/>
                <a:gd name="connsiteX292" fmla="*/ 350832 w 1254307"/>
                <a:gd name="connsiteY292" fmla="*/ 45807 h 298698"/>
                <a:gd name="connsiteX293" fmla="*/ 505011 w 1254307"/>
                <a:gd name="connsiteY293" fmla="*/ 37986 h 298698"/>
                <a:gd name="connsiteX294" fmla="*/ 510969 w 1254307"/>
                <a:gd name="connsiteY294" fmla="*/ 43945 h 298698"/>
                <a:gd name="connsiteX295" fmla="*/ 505011 w 1254307"/>
                <a:gd name="connsiteY295" fmla="*/ 49531 h 298698"/>
                <a:gd name="connsiteX296" fmla="*/ 499052 w 1254307"/>
                <a:gd name="connsiteY296" fmla="*/ 43945 h 298698"/>
                <a:gd name="connsiteX297" fmla="*/ 505011 w 1254307"/>
                <a:gd name="connsiteY297" fmla="*/ 37986 h 298698"/>
                <a:gd name="connsiteX298" fmla="*/ 331839 w 1254307"/>
                <a:gd name="connsiteY298" fmla="*/ 37614 h 298698"/>
                <a:gd name="connsiteX299" fmla="*/ 348970 w 1254307"/>
                <a:gd name="connsiteY299" fmla="*/ 37614 h 298698"/>
                <a:gd name="connsiteX300" fmla="*/ 368708 w 1254307"/>
                <a:gd name="connsiteY300" fmla="*/ 42828 h 298698"/>
                <a:gd name="connsiteX301" fmla="*/ 373922 w 1254307"/>
                <a:gd name="connsiteY301" fmla="*/ 55862 h 298698"/>
                <a:gd name="connsiteX302" fmla="*/ 369825 w 1254307"/>
                <a:gd name="connsiteY302" fmla="*/ 67407 h 298698"/>
                <a:gd name="connsiteX303" fmla="*/ 359025 w 1254307"/>
                <a:gd name="connsiteY303" fmla="*/ 72621 h 298698"/>
                <a:gd name="connsiteX304" fmla="*/ 365729 w 1254307"/>
                <a:gd name="connsiteY304" fmla="*/ 76345 h 298698"/>
                <a:gd name="connsiteX305" fmla="*/ 370198 w 1254307"/>
                <a:gd name="connsiteY305" fmla="*/ 84538 h 298698"/>
                <a:gd name="connsiteX306" fmla="*/ 378391 w 1254307"/>
                <a:gd name="connsiteY306" fmla="*/ 103531 h 298698"/>
                <a:gd name="connsiteX307" fmla="*/ 367591 w 1254307"/>
                <a:gd name="connsiteY307" fmla="*/ 103531 h 298698"/>
                <a:gd name="connsiteX308" fmla="*/ 359770 w 1254307"/>
                <a:gd name="connsiteY308" fmla="*/ 86028 h 298698"/>
                <a:gd name="connsiteX309" fmla="*/ 345246 w 1254307"/>
                <a:gd name="connsiteY309" fmla="*/ 75973 h 298698"/>
                <a:gd name="connsiteX310" fmla="*/ 341894 w 1254307"/>
                <a:gd name="connsiteY310" fmla="*/ 75973 h 298698"/>
                <a:gd name="connsiteX311" fmla="*/ 341894 w 1254307"/>
                <a:gd name="connsiteY311" fmla="*/ 103531 h 298698"/>
                <a:gd name="connsiteX312" fmla="*/ 331839 w 1254307"/>
                <a:gd name="connsiteY312" fmla="*/ 103531 h 298698"/>
                <a:gd name="connsiteX313" fmla="*/ 131481 w 1254307"/>
                <a:gd name="connsiteY313" fmla="*/ 12290 h 298698"/>
                <a:gd name="connsiteX314" fmla="*/ 113605 w 1254307"/>
                <a:gd name="connsiteY314" fmla="*/ 36869 h 298698"/>
                <a:gd name="connsiteX315" fmla="*/ 96846 w 1254307"/>
                <a:gd name="connsiteY315" fmla="*/ 17876 h 298698"/>
                <a:gd name="connsiteX316" fmla="*/ 92377 w 1254307"/>
                <a:gd name="connsiteY316" fmla="*/ 52883 h 298698"/>
                <a:gd name="connsiteX317" fmla="*/ 60722 w 1254307"/>
                <a:gd name="connsiteY317" fmla="*/ 38731 h 298698"/>
                <a:gd name="connsiteX318" fmla="*/ 67798 w 1254307"/>
                <a:gd name="connsiteY318" fmla="*/ 62938 h 298698"/>
                <a:gd name="connsiteX319" fmla="*/ 38005 w 1254307"/>
                <a:gd name="connsiteY319" fmla="*/ 65917 h 298698"/>
                <a:gd name="connsiteX320" fmla="*/ 64446 w 1254307"/>
                <a:gd name="connsiteY320" fmla="*/ 80069 h 298698"/>
                <a:gd name="connsiteX321" fmla="*/ 90888 w 1254307"/>
                <a:gd name="connsiteY321" fmla="*/ 91614 h 298698"/>
                <a:gd name="connsiteX322" fmla="*/ 134460 w 1254307"/>
                <a:gd name="connsiteY322" fmla="*/ 141145 h 298698"/>
                <a:gd name="connsiteX323" fmla="*/ 69288 w 1254307"/>
                <a:gd name="connsiteY323" fmla="*/ 128483 h 298698"/>
                <a:gd name="connsiteX324" fmla="*/ 45826 w 1254307"/>
                <a:gd name="connsiteY324" fmla="*/ 111352 h 298698"/>
                <a:gd name="connsiteX325" fmla="*/ 20874 w 1254307"/>
                <a:gd name="connsiteY325" fmla="*/ 96083 h 298698"/>
                <a:gd name="connsiteX326" fmla="*/ 32791 w 1254307"/>
                <a:gd name="connsiteY326" fmla="*/ 123641 h 298698"/>
                <a:gd name="connsiteX327" fmla="*/ 8957 w 1254307"/>
                <a:gd name="connsiteY327" fmla="*/ 128483 h 298698"/>
                <a:gd name="connsiteX328" fmla="*/ 37260 w 1254307"/>
                <a:gd name="connsiteY328" fmla="*/ 149710 h 298698"/>
                <a:gd name="connsiteX329" fmla="*/ 8957 w 1254307"/>
                <a:gd name="connsiteY329" fmla="*/ 170938 h 298698"/>
                <a:gd name="connsiteX330" fmla="*/ 32791 w 1254307"/>
                <a:gd name="connsiteY330" fmla="*/ 175779 h 298698"/>
                <a:gd name="connsiteX331" fmla="*/ 20874 w 1254307"/>
                <a:gd name="connsiteY331" fmla="*/ 203338 h 298698"/>
                <a:gd name="connsiteX332" fmla="*/ 45453 w 1254307"/>
                <a:gd name="connsiteY332" fmla="*/ 188069 h 298698"/>
                <a:gd name="connsiteX333" fmla="*/ 68915 w 1254307"/>
                <a:gd name="connsiteY333" fmla="*/ 170566 h 298698"/>
                <a:gd name="connsiteX334" fmla="*/ 134088 w 1254307"/>
                <a:gd name="connsiteY334" fmla="*/ 157903 h 298698"/>
                <a:gd name="connsiteX335" fmla="*/ 90515 w 1254307"/>
                <a:gd name="connsiteY335" fmla="*/ 207434 h 298698"/>
                <a:gd name="connsiteX336" fmla="*/ 64074 w 1254307"/>
                <a:gd name="connsiteY336" fmla="*/ 218979 h 298698"/>
                <a:gd name="connsiteX337" fmla="*/ 37633 w 1254307"/>
                <a:gd name="connsiteY337" fmla="*/ 233131 h 298698"/>
                <a:gd name="connsiteX338" fmla="*/ 67426 w 1254307"/>
                <a:gd name="connsiteY338" fmla="*/ 236110 h 298698"/>
                <a:gd name="connsiteX339" fmla="*/ 58860 w 1254307"/>
                <a:gd name="connsiteY339" fmla="*/ 259572 h 298698"/>
                <a:gd name="connsiteX340" fmla="*/ 91260 w 1254307"/>
                <a:gd name="connsiteY340" fmla="*/ 246166 h 298698"/>
                <a:gd name="connsiteX341" fmla="*/ 96102 w 1254307"/>
                <a:gd name="connsiteY341" fmla="*/ 280800 h 298698"/>
                <a:gd name="connsiteX342" fmla="*/ 112488 w 1254307"/>
                <a:gd name="connsiteY342" fmla="*/ 261807 h 298698"/>
                <a:gd name="connsiteX343" fmla="*/ 130364 w 1254307"/>
                <a:gd name="connsiteY343" fmla="*/ 286386 h 298698"/>
                <a:gd name="connsiteX344" fmla="*/ 129619 w 1254307"/>
                <a:gd name="connsiteY344" fmla="*/ 256593 h 298698"/>
                <a:gd name="connsiteX345" fmla="*/ 126639 w 1254307"/>
                <a:gd name="connsiteY345" fmla="*/ 228290 h 298698"/>
                <a:gd name="connsiteX346" fmla="*/ 147867 w 1254307"/>
                <a:gd name="connsiteY346" fmla="*/ 165724 h 298698"/>
                <a:gd name="connsiteX347" fmla="*/ 169095 w 1254307"/>
                <a:gd name="connsiteY347" fmla="*/ 228290 h 298698"/>
                <a:gd name="connsiteX348" fmla="*/ 166115 w 1254307"/>
                <a:gd name="connsiteY348" fmla="*/ 256593 h 298698"/>
                <a:gd name="connsiteX349" fmla="*/ 165370 w 1254307"/>
                <a:gd name="connsiteY349" fmla="*/ 286386 h 298698"/>
                <a:gd name="connsiteX350" fmla="*/ 183246 w 1254307"/>
                <a:gd name="connsiteY350" fmla="*/ 261807 h 298698"/>
                <a:gd name="connsiteX351" fmla="*/ 199632 w 1254307"/>
                <a:gd name="connsiteY351" fmla="*/ 280800 h 298698"/>
                <a:gd name="connsiteX352" fmla="*/ 204474 w 1254307"/>
                <a:gd name="connsiteY352" fmla="*/ 246166 h 298698"/>
                <a:gd name="connsiteX353" fmla="*/ 236874 w 1254307"/>
                <a:gd name="connsiteY353" fmla="*/ 259572 h 298698"/>
                <a:gd name="connsiteX354" fmla="*/ 229053 w 1254307"/>
                <a:gd name="connsiteY354" fmla="*/ 236110 h 298698"/>
                <a:gd name="connsiteX355" fmla="*/ 258846 w 1254307"/>
                <a:gd name="connsiteY355" fmla="*/ 233131 h 298698"/>
                <a:gd name="connsiteX356" fmla="*/ 232405 w 1254307"/>
                <a:gd name="connsiteY356" fmla="*/ 218979 h 298698"/>
                <a:gd name="connsiteX357" fmla="*/ 205963 w 1254307"/>
                <a:gd name="connsiteY357" fmla="*/ 207434 h 298698"/>
                <a:gd name="connsiteX358" fmla="*/ 162391 w 1254307"/>
                <a:gd name="connsiteY358" fmla="*/ 157903 h 298698"/>
                <a:gd name="connsiteX359" fmla="*/ 227563 w 1254307"/>
                <a:gd name="connsiteY359" fmla="*/ 170566 h 298698"/>
                <a:gd name="connsiteX360" fmla="*/ 251025 w 1254307"/>
                <a:gd name="connsiteY360" fmla="*/ 187697 h 298698"/>
                <a:gd name="connsiteX361" fmla="*/ 275977 w 1254307"/>
                <a:gd name="connsiteY361" fmla="*/ 202966 h 298698"/>
                <a:gd name="connsiteX362" fmla="*/ 264060 w 1254307"/>
                <a:gd name="connsiteY362" fmla="*/ 175407 h 298698"/>
                <a:gd name="connsiteX363" fmla="*/ 289384 w 1254307"/>
                <a:gd name="connsiteY363" fmla="*/ 170938 h 298698"/>
                <a:gd name="connsiteX364" fmla="*/ 261081 w 1254307"/>
                <a:gd name="connsiteY364" fmla="*/ 149710 h 298698"/>
                <a:gd name="connsiteX365" fmla="*/ 289384 w 1254307"/>
                <a:gd name="connsiteY365" fmla="*/ 128483 h 298698"/>
                <a:gd name="connsiteX366" fmla="*/ 265550 w 1254307"/>
                <a:gd name="connsiteY366" fmla="*/ 123641 h 298698"/>
                <a:gd name="connsiteX367" fmla="*/ 277467 w 1254307"/>
                <a:gd name="connsiteY367" fmla="*/ 96083 h 298698"/>
                <a:gd name="connsiteX368" fmla="*/ 252515 w 1254307"/>
                <a:gd name="connsiteY368" fmla="*/ 111352 h 298698"/>
                <a:gd name="connsiteX369" fmla="*/ 229053 w 1254307"/>
                <a:gd name="connsiteY369" fmla="*/ 128483 h 298698"/>
                <a:gd name="connsiteX370" fmla="*/ 163881 w 1254307"/>
                <a:gd name="connsiteY370" fmla="*/ 141145 h 298698"/>
                <a:gd name="connsiteX371" fmla="*/ 207453 w 1254307"/>
                <a:gd name="connsiteY371" fmla="*/ 91614 h 298698"/>
                <a:gd name="connsiteX372" fmla="*/ 233894 w 1254307"/>
                <a:gd name="connsiteY372" fmla="*/ 80069 h 298698"/>
                <a:gd name="connsiteX373" fmla="*/ 260336 w 1254307"/>
                <a:gd name="connsiteY373" fmla="*/ 65917 h 298698"/>
                <a:gd name="connsiteX374" fmla="*/ 230543 w 1254307"/>
                <a:gd name="connsiteY374" fmla="*/ 62938 h 298698"/>
                <a:gd name="connsiteX375" fmla="*/ 237619 w 1254307"/>
                <a:gd name="connsiteY375" fmla="*/ 38731 h 298698"/>
                <a:gd name="connsiteX376" fmla="*/ 205963 w 1254307"/>
                <a:gd name="connsiteY376" fmla="*/ 52883 h 298698"/>
                <a:gd name="connsiteX377" fmla="*/ 201495 w 1254307"/>
                <a:gd name="connsiteY377" fmla="*/ 17876 h 298698"/>
                <a:gd name="connsiteX378" fmla="*/ 184363 w 1254307"/>
                <a:gd name="connsiteY378" fmla="*/ 36869 h 298698"/>
                <a:gd name="connsiteX379" fmla="*/ 166488 w 1254307"/>
                <a:gd name="connsiteY379" fmla="*/ 12290 h 298698"/>
                <a:gd name="connsiteX380" fmla="*/ 167232 w 1254307"/>
                <a:gd name="connsiteY380" fmla="*/ 42083 h 298698"/>
                <a:gd name="connsiteX381" fmla="*/ 170212 w 1254307"/>
                <a:gd name="connsiteY381" fmla="*/ 70386 h 298698"/>
                <a:gd name="connsiteX382" fmla="*/ 148984 w 1254307"/>
                <a:gd name="connsiteY382" fmla="*/ 132952 h 298698"/>
                <a:gd name="connsiteX383" fmla="*/ 127757 w 1254307"/>
                <a:gd name="connsiteY383" fmla="*/ 70386 h 298698"/>
                <a:gd name="connsiteX384" fmla="*/ 130736 w 1254307"/>
                <a:gd name="connsiteY384" fmla="*/ 42083 h 298698"/>
                <a:gd name="connsiteX385" fmla="*/ 131481 w 1254307"/>
                <a:gd name="connsiteY385" fmla="*/ 12290 h 298698"/>
                <a:gd name="connsiteX386" fmla="*/ 134833 w 1254307"/>
                <a:gd name="connsiteY386" fmla="*/ 0 h 298698"/>
                <a:gd name="connsiteX387" fmla="*/ 134833 w 1254307"/>
                <a:gd name="connsiteY387" fmla="*/ 67779 h 298698"/>
                <a:gd name="connsiteX388" fmla="*/ 148239 w 1254307"/>
                <a:gd name="connsiteY388" fmla="*/ 107255 h 298698"/>
                <a:gd name="connsiteX389" fmla="*/ 161646 w 1254307"/>
                <a:gd name="connsiteY389" fmla="*/ 67779 h 298698"/>
                <a:gd name="connsiteX390" fmla="*/ 161646 w 1254307"/>
                <a:gd name="connsiteY390" fmla="*/ 0 h 298698"/>
                <a:gd name="connsiteX391" fmla="*/ 184363 w 1254307"/>
                <a:gd name="connsiteY391" fmla="*/ 19738 h 298698"/>
                <a:gd name="connsiteX392" fmla="*/ 202612 w 1254307"/>
                <a:gd name="connsiteY392" fmla="*/ 9310 h 298698"/>
                <a:gd name="connsiteX393" fmla="*/ 214901 w 1254307"/>
                <a:gd name="connsiteY393" fmla="*/ 34634 h 298698"/>
                <a:gd name="connsiteX394" fmla="*/ 242088 w 1254307"/>
                <a:gd name="connsiteY394" fmla="*/ 32400 h 298698"/>
                <a:gd name="connsiteX395" fmla="*/ 242832 w 1254307"/>
                <a:gd name="connsiteY395" fmla="*/ 53255 h 298698"/>
                <a:gd name="connsiteX396" fmla="*/ 271136 w 1254307"/>
                <a:gd name="connsiteY396" fmla="*/ 62938 h 298698"/>
                <a:gd name="connsiteX397" fmla="*/ 212294 w 1254307"/>
                <a:gd name="connsiteY397" fmla="*/ 96828 h 298698"/>
                <a:gd name="connsiteX398" fmla="*/ 184736 w 1254307"/>
                <a:gd name="connsiteY398" fmla="*/ 128110 h 298698"/>
                <a:gd name="connsiteX399" fmla="*/ 226074 w 1254307"/>
                <a:gd name="connsiteY399" fmla="*/ 119917 h 298698"/>
                <a:gd name="connsiteX400" fmla="*/ 284543 w 1254307"/>
                <a:gd name="connsiteY400" fmla="*/ 85655 h 298698"/>
                <a:gd name="connsiteX401" fmla="*/ 279329 w 1254307"/>
                <a:gd name="connsiteY401" fmla="*/ 115448 h 298698"/>
                <a:gd name="connsiteX402" fmla="*/ 296460 w 1254307"/>
                <a:gd name="connsiteY402" fmla="*/ 125876 h 298698"/>
                <a:gd name="connsiteX403" fmla="*/ 280074 w 1254307"/>
                <a:gd name="connsiteY403" fmla="*/ 149338 h 298698"/>
                <a:gd name="connsiteX404" fmla="*/ 296460 w 1254307"/>
                <a:gd name="connsiteY404" fmla="*/ 173172 h 298698"/>
                <a:gd name="connsiteX405" fmla="*/ 279329 w 1254307"/>
                <a:gd name="connsiteY405" fmla="*/ 183600 h 298698"/>
                <a:gd name="connsiteX406" fmla="*/ 284543 w 1254307"/>
                <a:gd name="connsiteY406" fmla="*/ 213393 h 298698"/>
                <a:gd name="connsiteX407" fmla="*/ 226074 w 1254307"/>
                <a:gd name="connsiteY407" fmla="*/ 179131 h 298698"/>
                <a:gd name="connsiteX408" fmla="*/ 184736 w 1254307"/>
                <a:gd name="connsiteY408" fmla="*/ 170938 h 298698"/>
                <a:gd name="connsiteX409" fmla="*/ 212294 w 1254307"/>
                <a:gd name="connsiteY409" fmla="*/ 202221 h 298698"/>
                <a:gd name="connsiteX410" fmla="*/ 271136 w 1254307"/>
                <a:gd name="connsiteY410" fmla="*/ 236110 h 298698"/>
                <a:gd name="connsiteX411" fmla="*/ 243205 w 1254307"/>
                <a:gd name="connsiteY411" fmla="*/ 245793 h 298698"/>
                <a:gd name="connsiteX412" fmla="*/ 243205 w 1254307"/>
                <a:gd name="connsiteY412" fmla="*/ 265903 h 298698"/>
                <a:gd name="connsiteX413" fmla="*/ 214901 w 1254307"/>
                <a:gd name="connsiteY413" fmla="*/ 264041 h 298698"/>
                <a:gd name="connsiteX414" fmla="*/ 202239 w 1254307"/>
                <a:gd name="connsiteY414" fmla="*/ 289366 h 298698"/>
                <a:gd name="connsiteX415" fmla="*/ 184363 w 1254307"/>
                <a:gd name="connsiteY415" fmla="*/ 278938 h 298698"/>
                <a:gd name="connsiteX416" fmla="*/ 161646 w 1254307"/>
                <a:gd name="connsiteY416" fmla="*/ 298676 h 298698"/>
                <a:gd name="connsiteX417" fmla="*/ 161646 w 1254307"/>
                <a:gd name="connsiteY417" fmla="*/ 230897 h 298698"/>
                <a:gd name="connsiteX418" fmla="*/ 148239 w 1254307"/>
                <a:gd name="connsiteY418" fmla="*/ 191421 h 298698"/>
                <a:gd name="connsiteX419" fmla="*/ 134833 w 1254307"/>
                <a:gd name="connsiteY419" fmla="*/ 230897 h 298698"/>
                <a:gd name="connsiteX420" fmla="*/ 134833 w 1254307"/>
                <a:gd name="connsiteY420" fmla="*/ 298676 h 298698"/>
                <a:gd name="connsiteX421" fmla="*/ 112115 w 1254307"/>
                <a:gd name="connsiteY421" fmla="*/ 278938 h 298698"/>
                <a:gd name="connsiteX422" fmla="*/ 94239 w 1254307"/>
                <a:gd name="connsiteY422" fmla="*/ 289366 h 298698"/>
                <a:gd name="connsiteX423" fmla="*/ 81577 w 1254307"/>
                <a:gd name="connsiteY423" fmla="*/ 264041 h 298698"/>
                <a:gd name="connsiteX424" fmla="*/ 53274 w 1254307"/>
                <a:gd name="connsiteY424" fmla="*/ 265903 h 298698"/>
                <a:gd name="connsiteX425" fmla="*/ 53274 w 1254307"/>
                <a:gd name="connsiteY425" fmla="*/ 245793 h 298698"/>
                <a:gd name="connsiteX426" fmla="*/ 25343 w 1254307"/>
                <a:gd name="connsiteY426" fmla="*/ 236110 h 298698"/>
                <a:gd name="connsiteX427" fmla="*/ 84184 w 1254307"/>
                <a:gd name="connsiteY427" fmla="*/ 202221 h 298698"/>
                <a:gd name="connsiteX428" fmla="*/ 111743 w 1254307"/>
                <a:gd name="connsiteY428" fmla="*/ 170938 h 298698"/>
                <a:gd name="connsiteX429" fmla="*/ 70405 w 1254307"/>
                <a:gd name="connsiteY429" fmla="*/ 179131 h 298698"/>
                <a:gd name="connsiteX430" fmla="*/ 11936 w 1254307"/>
                <a:gd name="connsiteY430" fmla="*/ 213393 h 298698"/>
                <a:gd name="connsiteX431" fmla="*/ 17150 w 1254307"/>
                <a:gd name="connsiteY431" fmla="*/ 183600 h 298698"/>
                <a:gd name="connsiteX432" fmla="*/ 19 w 1254307"/>
                <a:gd name="connsiteY432" fmla="*/ 173172 h 298698"/>
                <a:gd name="connsiteX433" fmla="*/ 16405 w 1254307"/>
                <a:gd name="connsiteY433" fmla="*/ 149710 h 298698"/>
                <a:gd name="connsiteX434" fmla="*/ 19 w 1254307"/>
                <a:gd name="connsiteY434" fmla="*/ 126248 h 298698"/>
                <a:gd name="connsiteX435" fmla="*/ 17150 w 1254307"/>
                <a:gd name="connsiteY435" fmla="*/ 115821 h 298698"/>
                <a:gd name="connsiteX436" fmla="*/ 11936 w 1254307"/>
                <a:gd name="connsiteY436" fmla="*/ 86028 h 298698"/>
                <a:gd name="connsiteX437" fmla="*/ 70405 w 1254307"/>
                <a:gd name="connsiteY437" fmla="*/ 120290 h 298698"/>
                <a:gd name="connsiteX438" fmla="*/ 111743 w 1254307"/>
                <a:gd name="connsiteY438" fmla="*/ 128483 h 298698"/>
                <a:gd name="connsiteX439" fmla="*/ 84184 w 1254307"/>
                <a:gd name="connsiteY439" fmla="*/ 97200 h 298698"/>
                <a:gd name="connsiteX440" fmla="*/ 25343 w 1254307"/>
                <a:gd name="connsiteY440" fmla="*/ 63683 h 298698"/>
                <a:gd name="connsiteX441" fmla="*/ 53646 w 1254307"/>
                <a:gd name="connsiteY441" fmla="*/ 53628 h 298698"/>
                <a:gd name="connsiteX442" fmla="*/ 54391 w 1254307"/>
                <a:gd name="connsiteY442" fmla="*/ 32400 h 298698"/>
                <a:gd name="connsiteX443" fmla="*/ 81577 w 1254307"/>
                <a:gd name="connsiteY443" fmla="*/ 34634 h 298698"/>
                <a:gd name="connsiteX444" fmla="*/ 93867 w 1254307"/>
                <a:gd name="connsiteY444" fmla="*/ 9310 h 298698"/>
                <a:gd name="connsiteX445" fmla="*/ 112115 w 1254307"/>
                <a:gd name="connsiteY445" fmla="*/ 19738 h 298698"/>
                <a:gd name="connsiteX446" fmla="*/ 134833 w 1254307"/>
                <a:gd name="connsiteY446" fmla="*/ 0 h 29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Lst>
              <a:rect l="l" t="t" r="r" b="b"/>
              <a:pathLst>
                <a:path w="1254307" h="298698">
                  <a:moveTo>
                    <a:pt x="1053948" y="221958"/>
                  </a:moveTo>
                  <a:cubicBezTo>
                    <a:pt x="1040541" y="221958"/>
                    <a:pt x="1031604" y="224193"/>
                    <a:pt x="1027135" y="228662"/>
                  </a:cubicBezTo>
                  <a:cubicBezTo>
                    <a:pt x="1024900" y="231269"/>
                    <a:pt x="1023411" y="234620"/>
                    <a:pt x="1023783" y="237972"/>
                  </a:cubicBezTo>
                  <a:cubicBezTo>
                    <a:pt x="1023783" y="246165"/>
                    <a:pt x="1030114" y="251379"/>
                    <a:pt x="1039424" y="251379"/>
                  </a:cubicBezTo>
                  <a:cubicBezTo>
                    <a:pt x="1045755" y="251007"/>
                    <a:pt x="1052086" y="249145"/>
                    <a:pt x="1057672" y="245793"/>
                  </a:cubicBezTo>
                  <a:lnTo>
                    <a:pt x="1058417" y="245420"/>
                  </a:lnTo>
                  <a:lnTo>
                    <a:pt x="1058790" y="245048"/>
                  </a:lnTo>
                  <a:lnTo>
                    <a:pt x="1058790" y="221958"/>
                  </a:lnTo>
                  <a:close/>
                  <a:moveTo>
                    <a:pt x="1221535" y="191793"/>
                  </a:moveTo>
                  <a:cubicBezTo>
                    <a:pt x="1205893" y="191793"/>
                    <a:pt x="1196210" y="203710"/>
                    <a:pt x="1196210" y="221958"/>
                  </a:cubicBezTo>
                  <a:cubicBezTo>
                    <a:pt x="1196210" y="238717"/>
                    <a:pt x="1205521" y="250262"/>
                    <a:pt x="1219300" y="250262"/>
                  </a:cubicBezTo>
                  <a:cubicBezTo>
                    <a:pt x="1225259" y="250262"/>
                    <a:pt x="1231217" y="248400"/>
                    <a:pt x="1236059" y="244676"/>
                  </a:cubicBezTo>
                  <a:lnTo>
                    <a:pt x="1236804" y="244303"/>
                  </a:lnTo>
                  <a:lnTo>
                    <a:pt x="1237176" y="196634"/>
                  </a:lnTo>
                  <a:lnTo>
                    <a:pt x="1236804" y="196262"/>
                  </a:lnTo>
                  <a:cubicBezTo>
                    <a:pt x="1232335" y="193283"/>
                    <a:pt x="1227121" y="191793"/>
                    <a:pt x="1221535" y="191793"/>
                  </a:cubicBezTo>
                  <a:close/>
                  <a:moveTo>
                    <a:pt x="850239" y="191793"/>
                  </a:moveTo>
                  <a:cubicBezTo>
                    <a:pt x="836459" y="191793"/>
                    <a:pt x="827521" y="203338"/>
                    <a:pt x="827521" y="220841"/>
                  </a:cubicBezTo>
                  <a:cubicBezTo>
                    <a:pt x="827521" y="238344"/>
                    <a:pt x="837204" y="250634"/>
                    <a:pt x="850983" y="250634"/>
                  </a:cubicBezTo>
                  <a:cubicBezTo>
                    <a:pt x="864763" y="250634"/>
                    <a:pt x="873328" y="239089"/>
                    <a:pt x="873328" y="221586"/>
                  </a:cubicBezTo>
                  <a:cubicBezTo>
                    <a:pt x="873328" y="204082"/>
                    <a:pt x="864018" y="191793"/>
                    <a:pt x="850239" y="191793"/>
                  </a:cubicBezTo>
                  <a:close/>
                  <a:moveTo>
                    <a:pt x="761232" y="191793"/>
                  </a:moveTo>
                  <a:cubicBezTo>
                    <a:pt x="745963" y="191793"/>
                    <a:pt x="735907" y="203710"/>
                    <a:pt x="735907" y="221213"/>
                  </a:cubicBezTo>
                  <a:cubicBezTo>
                    <a:pt x="735907" y="237600"/>
                    <a:pt x="745218" y="248772"/>
                    <a:pt x="758625" y="248772"/>
                  </a:cubicBezTo>
                  <a:cubicBezTo>
                    <a:pt x="764956" y="248772"/>
                    <a:pt x="770914" y="246538"/>
                    <a:pt x="776500" y="242813"/>
                  </a:cubicBezTo>
                  <a:lnTo>
                    <a:pt x="776500" y="195144"/>
                  </a:lnTo>
                  <a:lnTo>
                    <a:pt x="776128" y="194772"/>
                  </a:lnTo>
                  <a:cubicBezTo>
                    <a:pt x="771287" y="192910"/>
                    <a:pt x="766445" y="191793"/>
                    <a:pt x="761232" y="191793"/>
                  </a:cubicBezTo>
                  <a:close/>
                  <a:moveTo>
                    <a:pt x="611893" y="190675"/>
                  </a:moveTo>
                  <a:cubicBezTo>
                    <a:pt x="599976" y="190675"/>
                    <a:pt x="591038" y="199613"/>
                    <a:pt x="589549" y="213020"/>
                  </a:cubicBezTo>
                  <a:lnTo>
                    <a:pt x="589549" y="213765"/>
                  </a:lnTo>
                  <a:lnTo>
                    <a:pt x="630514" y="213765"/>
                  </a:lnTo>
                  <a:lnTo>
                    <a:pt x="630514" y="213020"/>
                  </a:lnTo>
                  <a:cubicBezTo>
                    <a:pt x="630514" y="202593"/>
                    <a:pt x="625673" y="190675"/>
                    <a:pt x="611893" y="190675"/>
                  </a:cubicBezTo>
                  <a:close/>
                  <a:moveTo>
                    <a:pt x="467770" y="178014"/>
                  </a:moveTo>
                  <a:cubicBezTo>
                    <a:pt x="477080" y="177642"/>
                    <a:pt x="486018" y="180249"/>
                    <a:pt x="493839" y="185090"/>
                  </a:cubicBezTo>
                  <a:lnTo>
                    <a:pt x="487880" y="195890"/>
                  </a:lnTo>
                  <a:cubicBezTo>
                    <a:pt x="481921" y="192538"/>
                    <a:pt x="475590" y="190676"/>
                    <a:pt x="468887" y="190676"/>
                  </a:cubicBezTo>
                  <a:cubicBezTo>
                    <a:pt x="458459" y="190676"/>
                    <a:pt x="454735" y="196262"/>
                    <a:pt x="454735" y="201104"/>
                  </a:cubicBezTo>
                  <a:cubicBezTo>
                    <a:pt x="454735" y="207435"/>
                    <a:pt x="461439" y="210414"/>
                    <a:pt x="469632" y="213766"/>
                  </a:cubicBezTo>
                  <a:lnTo>
                    <a:pt x="470749" y="214138"/>
                  </a:lnTo>
                  <a:cubicBezTo>
                    <a:pt x="481921" y="218980"/>
                    <a:pt x="494956" y="224193"/>
                    <a:pt x="494956" y="239835"/>
                  </a:cubicBezTo>
                  <a:cubicBezTo>
                    <a:pt x="494956" y="255476"/>
                    <a:pt x="483039" y="264787"/>
                    <a:pt x="464046" y="264787"/>
                  </a:cubicBezTo>
                  <a:cubicBezTo>
                    <a:pt x="453618" y="264787"/>
                    <a:pt x="443190" y="261807"/>
                    <a:pt x="434625" y="256593"/>
                  </a:cubicBezTo>
                  <a:lnTo>
                    <a:pt x="440584" y="245421"/>
                  </a:lnTo>
                  <a:cubicBezTo>
                    <a:pt x="447287" y="249145"/>
                    <a:pt x="454735" y="251380"/>
                    <a:pt x="462184" y="251752"/>
                  </a:cubicBezTo>
                  <a:cubicBezTo>
                    <a:pt x="471494" y="251752"/>
                    <a:pt x="477453" y="247283"/>
                    <a:pt x="477453" y="240580"/>
                  </a:cubicBezTo>
                  <a:cubicBezTo>
                    <a:pt x="477453" y="233876"/>
                    <a:pt x="471494" y="231642"/>
                    <a:pt x="461811" y="227545"/>
                  </a:cubicBezTo>
                  <a:lnTo>
                    <a:pt x="459204" y="226428"/>
                  </a:lnTo>
                  <a:cubicBezTo>
                    <a:pt x="449894" y="222704"/>
                    <a:pt x="437604" y="217118"/>
                    <a:pt x="437604" y="202221"/>
                  </a:cubicBezTo>
                  <a:cubicBezTo>
                    <a:pt x="437604" y="187324"/>
                    <a:pt x="449894" y="178014"/>
                    <a:pt x="467770" y="178014"/>
                  </a:cubicBezTo>
                  <a:close/>
                  <a:moveTo>
                    <a:pt x="1134762" y="177641"/>
                  </a:moveTo>
                  <a:cubicBezTo>
                    <a:pt x="1142210" y="177269"/>
                    <a:pt x="1149659" y="179876"/>
                    <a:pt x="1155245" y="185089"/>
                  </a:cubicBezTo>
                  <a:cubicBezTo>
                    <a:pt x="1163438" y="193282"/>
                    <a:pt x="1163438" y="203710"/>
                    <a:pt x="1163438" y="215627"/>
                  </a:cubicBezTo>
                  <a:lnTo>
                    <a:pt x="1163438" y="262551"/>
                  </a:lnTo>
                  <a:lnTo>
                    <a:pt x="1146307" y="262551"/>
                  </a:lnTo>
                  <a:lnTo>
                    <a:pt x="1146307" y="217489"/>
                  </a:lnTo>
                  <a:cubicBezTo>
                    <a:pt x="1146307" y="206317"/>
                    <a:pt x="1146307" y="200358"/>
                    <a:pt x="1142210" y="196262"/>
                  </a:cubicBezTo>
                  <a:cubicBezTo>
                    <a:pt x="1139231" y="193655"/>
                    <a:pt x="1135134" y="192165"/>
                    <a:pt x="1131038" y="192538"/>
                  </a:cubicBezTo>
                  <a:cubicBezTo>
                    <a:pt x="1124334" y="192910"/>
                    <a:pt x="1117631" y="195144"/>
                    <a:pt x="1112045" y="198869"/>
                  </a:cubicBezTo>
                  <a:lnTo>
                    <a:pt x="1111672" y="199241"/>
                  </a:lnTo>
                  <a:lnTo>
                    <a:pt x="1111672" y="262924"/>
                  </a:lnTo>
                  <a:lnTo>
                    <a:pt x="1094169" y="262924"/>
                  </a:lnTo>
                  <a:lnTo>
                    <a:pt x="1094169" y="180248"/>
                  </a:lnTo>
                  <a:lnTo>
                    <a:pt x="1109066" y="180248"/>
                  </a:lnTo>
                  <a:lnTo>
                    <a:pt x="1109066" y="187324"/>
                  </a:lnTo>
                  <a:lnTo>
                    <a:pt x="1110183" y="186207"/>
                  </a:lnTo>
                  <a:cubicBezTo>
                    <a:pt x="1117259" y="180993"/>
                    <a:pt x="1125824" y="178013"/>
                    <a:pt x="1134762" y="177641"/>
                  </a:cubicBezTo>
                  <a:close/>
                  <a:moveTo>
                    <a:pt x="1043148" y="177641"/>
                  </a:moveTo>
                  <a:cubicBezTo>
                    <a:pt x="1055066" y="177641"/>
                    <a:pt x="1062886" y="180248"/>
                    <a:pt x="1068845" y="186207"/>
                  </a:cubicBezTo>
                  <a:cubicBezTo>
                    <a:pt x="1075176" y="192538"/>
                    <a:pt x="1075176" y="200731"/>
                    <a:pt x="1074804" y="211531"/>
                  </a:cubicBezTo>
                  <a:lnTo>
                    <a:pt x="1074804" y="262924"/>
                  </a:lnTo>
                  <a:lnTo>
                    <a:pt x="1059907" y="262924"/>
                  </a:lnTo>
                  <a:lnTo>
                    <a:pt x="1059907" y="255848"/>
                  </a:lnTo>
                  <a:lnTo>
                    <a:pt x="1058790" y="256593"/>
                  </a:lnTo>
                  <a:cubicBezTo>
                    <a:pt x="1051714" y="261434"/>
                    <a:pt x="1043148" y="264414"/>
                    <a:pt x="1034583" y="264414"/>
                  </a:cubicBezTo>
                  <a:cubicBezTo>
                    <a:pt x="1018942" y="264414"/>
                    <a:pt x="1008514" y="253986"/>
                    <a:pt x="1008514" y="238717"/>
                  </a:cubicBezTo>
                  <a:cubicBezTo>
                    <a:pt x="1008514" y="219724"/>
                    <a:pt x="1024155" y="210041"/>
                    <a:pt x="1055066" y="210041"/>
                  </a:cubicBezTo>
                  <a:lnTo>
                    <a:pt x="1058790" y="210041"/>
                  </a:lnTo>
                  <a:lnTo>
                    <a:pt x="1058790" y="205945"/>
                  </a:lnTo>
                  <a:cubicBezTo>
                    <a:pt x="1058790" y="200731"/>
                    <a:pt x="1058790" y="197751"/>
                    <a:pt x="1055810" y="194772"/>
                  </a:cubicBezTo>
                  <a:cubicBezTo>
                    <a:pt x="1052831" y="191793"/>
                    <a:pt x="1048735" y="190676"/>
                    <a:pt x="1041659" y="190676"/>
                  </a:cubicBezTo>
                  <a:cubicBezTo>
                    <a:pt x="1033838" y="191048"/>
                    <a:pt x="1026017" y="193282"/>
                    <a:pt x="1019314" y="197007"/>
                  </a:cubicBezTo>
                  <a:lnTo>
                    <a:pt x="1013355" y="186207"/>
                  </a:lnTo>
                  <a:cubicBezTo>
                    <a:pt x="1021921" y="180248"/>
                    <a:pt x="1032348" y="177269"/>
                    <a:pt x="1043148" y="177641"/>
                  </a:cubicBezTo>
                  <a:close/>
                  <a:moveTo>
                    <a:pt x="851356" y="177641"/>
                  </a:moveTo>
                  <a:cubicBezTo>
                    <a:pt x="875190" y="177641"/>
                    <a:pt x="891204" y="194027"/>
                    <a:pt x="891204" y="220469"/>
                  </a:cubicBezTo>
                  <a:cubicBezTo>
                    <a:pt x="891204" y="246910"/>
                    <a:pt x="874446" y="264413"/>
                    <a:pt x="849866" y="264413"/>
                  </a:cubicBezTo>
                  <a:cubicBezTo>
                    <a:pt x="826032" y="264413"/>
                    <a:pt x="810018" y="248027"/>
                    <a:pt x="810018" y="221586"/>
                  </a:cubicBezTo>
                  <a:cubicBezTo>
                    <a:pt x="810018" y="195144"/>
                    <a:pt x="826777" y="177641"/>
                    <a:pt x="851356" y="177641"/>
                  </a:cubicBezTo>
                  <a:close/>
                  <a:moveTo>
                    <a:pt x="761604" y="177641"/>
                  </a:moveTo>
                  <a:cubicBezTo>
                    <a:pt x="772776" y="178013"/>
                    <a:pt x="783576" y="180620"/>
                    <a:pt x="793631" y="185834"/>
                  </a:cubicBezTo>
                  <a:lnTo>
                    <a:pt x="793631" y="259200"/>
                  </a:lnTo>
                  <a:cubicBezTo>
                    <a:pt x="793631" y="271862"/>
                    <a:pt x="793259" y="280055"/>
                    <a:pt x="785438" y="288248"/>
                  </a:cubicBezTo>
                  <a:cubicBezTo>
                    <a:pt x="778735" y="295324"/>
                    <a:pt x="769052" y="298675"/>
                    <a:pt x="756390" y="298675"/>
                  </a:cubicBezTo>
                  <a:cubicBezTo>
                    <a:pt x="744101" y="299048"/>
                    <a:pt x="731811" y="294951"/>
                    <a:pt x="721756" y="287503"/>
                  </a:cubicBezTo>
                  <a:lnTo>
                    <a:pt x="728832" y="276331"/>
                  </a:lnTo>
                  <a:cubicBezTo>
                    <a:pt x="736652" y="281544"/>
                    <a:pt x="745590" y="284524"/>
                    <a:pt x="754528" y="284524"/>
                  </a:cubicBezTo>
                  <a:cubicBezTo>
                    <a:pt x="760487" y="284896"/>
                    <a:pt x="766073" y="283407"/>
                    <a:pt x="770914" y="279682"/>
                  </a:cubicBezTo>
                  <a:cubicBezTo>
                    <a:pt x="776500" y="274841"/>
                    <a:pt x="776873" y="268138"/>
                    <a:pt x="776873" y="259944"/>
                  </a:cubicBezTo>
                  <a:lnTo>
                    <a:pt x="776873" y="256220"/>
                  </a:lnTo>
                  <a:lnTo>
                    <a:pt x="775756" y="256965"/>
                  </a:lnTo>
                  <a:lnTo>
                    <a:pt x="775011" y="257338"/>
                  </a:lnTo>
                  <a:cubicBezTo>
                    <a:pt x="769052" y="260689"/>
                    <a:pt x="761976" y="262551"/>
                    <a:pt x="754901" y="262551"/>
                  </a:cubicBezTo>
                  <a:cubicBezTo>
                    <a:pt x="729949" y="262551"/>
                    <a:pt x="718404" y="241324"/>
                    <a:pt x="718404" y="221958"/>
                  </a:cubicBezTo>
                  <a:cubicBezTo>
                    <a:pt x="718404" y="196262"/>
                    <a:pt x="736652" y="177641"/>
                    <a:pt x="761604" y="177641"/>
                  </a:cubicBezTo>
                  <a:close/>
                  <a:moveTo>
                    <a:pt x="706487" y="177641"/>
                  </a:moveTo>
                  <a:cubicBezTo>
                    <a:pt x="709466" y="177641"/>
                    <a:pt x="712073" y="178013"/>
                    <a:pt x="714680" y="179131"/>
                  </a:cubicBezTo>
                  <a:lnTo>
                    <a:pt x="710583" y="192538"/>
                  </a:lnTo>
                  <a:cubicBezTo>
                    <a:pt x="708721" y="192165"/>
                    <a:pt x="707232" y="192165"/>
                    <a:pt x="705370" y="192165"/>
                  </a:cubicBezTo>
                  <a:cubicBezTo>
                    <a:pt x="695315" y="192165"/>
                    <a:pt x="686004" y="197007"/>
                    <a:pt x="680418" y="205572"/>
                  </a:cubicBezTo>
                  <a:lnTo>
                    <a:pt x="680418" y="262551"/>
                  </a:lnTo>
                  <a:lnTo>
                    <a:pt x="663287" y="262551"/>
                  </a:lnTo>
                  <a:lnTo>
                    <a:pt x="663287" y="180248"/>
                  </a:lnTo>
                  <a:lnTo>
                    <a:pt x="678184" y="180248"/>
                  </a:lnTo>
                  <a:lnTo>
                    <a:pt x="678184" y="192910"/>
                  </a:lnTo>
                  <a:lnTo>
                    <a:pt x="679673" y="190303"/>
                  </a:lnTo>
                  <a:cubicBezTo>
                    <a:pt x="686377" y="182110"/>
                    <a:pt x="696059" y="177641"/>
                    <a:pt x="706487" y="177641"/>
                  </a:cubicBezTo>
                  <a:close/>
                  <a:moveTo>
                    <a:pt x="611521" y="177641"/>
                  </a:moveTo>
                  <a:cubicBezTo>
                    <a:pt x="633866" y="177641"/>
                    <a:pt x="646900" y="193655"/>
                    <a:pt x="646900" y="220096"/>
                  </a:cubicBezTo>
                  <a:cubicBezTo>
                    <a:pt x="646900" y="221586"/>
                    <a:pt x="646528" y="223448"/>
                    <a:pt x="646528" y="224565"/>
                  </a:cubicBezTo>
                  <a:cubicBezTo>
                    <a:pt x="646528" y="224938"/>
                    <a:pt x="646528" y="225682"/>
                    <a:pt x="646528" y="226055"/>
                  </a:cubicBezTo>
                  <a:lnTo>
                    <a:pt x="589549" y="226055"/>
                  </a:lnTo>
                  <a:lnTo>
                    <a:pt x="589549" y="226800"/>
                  </a:lnTo>
                  <a:cubicBezTo>
                    <a:pt x="589549" y="227544"/>
                    <a:pt x="589549" y="227917"/>
                    <a:pt x="589549" y="228662"/>
                  </a:cubicBezTo>
                  <a:cubicBezTo>
                    <a:pt x="590293" y="241696"/>
                    <a:pt x="601466" y="251379"/>
                    <a:pt x="614128" y="250634"/>
                  </a:cubicBezTo>
                  <a:cubicBezTo>
                    <a:pt x="621949" y="250634"/>
                    <a:pt x="629769" y="248400"/>
                    <a:pt x="636845" y="244675"/>
                  </a:cubicBezTo>
                  <a:lnTo>
                    <a:pt x="642804" y="255848"/>
                  </a:lnTo>
                  <a:cubicBezTo>
                    <a:pt x="633866" y="261434"/>
                    <a:pt x="623438" y="264413"/>
                    <a:pt x="612638" y="264413"/>
                  </a:cubicBezTo>
                  <a:cubicBezTo>
                    <a:pt x="588431" y="264413"/>
                    <a:pt x="572790" y="247282"/>
                    <a:pt x="572790" y="221586"/>
                  </a:cubicBezTo>
                  <a:cubicBezTo>
                    <a:pt x="572790" y="195889"/>
                    <a:pt x="588804" y="177641"/>
                    <a:pt x="611521" y="177641"/>
                  </a:cubicBezTo>
                  <a:close/>
                  <a:moveTo>
                    <a:pt x="372060" y="164979"/>
                  </a:moveTo>
                  <a:cubicBezTo>
                    <a:pt x="352694" y="164979"/>
                    <a:pt x="339287" y="182483"/>
                    <a:pt x="339287" y="208179"/>
                  </a:cubicBezTo>
                  <a:cubicBezTo>
                    <a:pt x="339287" y="232758"/>
                    <a:pt x="353067" y="250262"/>
                    <a:pt x="373177" y="250262"/>
                  </a:cubicBezTo>
                  <a:cubicBezTo>
                    <a:pt x="397756" y="250262"/>
                    <a:pt x="406322" y="227545"/>
                    <a:pt x="406322" y="206689"/>
                  </a:cubicBezTo>
                  <a:cubicBezTo>
                    <a:pt x="406322" y="182110"/>
                    <a:pt x="391425" y="164979"/>
                    <a:pt x="372060" y="164979"/>
                  </a:cubicBezTo>
                  <a:close/>
                  <a:moveTo>
                    <a:pt x="915038" y="156041"/>
                  </a:moveTo>
                  <a:lnTo>
                    <a:pt x="932541" y="156041"/>
                  </a:lnTo>
                  <a:lnTo>
                    <a:pt x="932541" y="180248"/>
                  </a:lnTo>
                  <a:lnTo>
                    <a:pt x="957121" y="180248"/>
                  </a:lnTo>
                  <a:lnTo>
                    <a:pt x="957121" y="194027"/>
                  </a:lnTo>
                  <a:lnTo>
                    <a:pt x="932541" y="194027"/>
                  </a:lnTo>
                  <a:lnTo>
                    <a:pt x="932541" y="234248"/>
                  </a:lnTo>
                  <a:cubicBezTo>
                    <a:pt x="932541" y="240951"/>
                    <a:pt x="932541" y="250262"/>
                    <a:pt x="944459" y="250262"/>
                  </a:cubicBezTo>
                  <a:cubicBezTo>
                    <a:pt x="948183" y="250262"/>
                    <a:pt x="951907" y="249517"/>
                    <a:pt x="955259" y="248027"/>
                  </a:cubicBezTo>
                  <a:lnTo>
                    <a:pt x="959728" y="259944"/>
                  </a:lnTo>
                  <a:cubicBezTo>
                    <a:pt x="953769" y="263296"/>
                    <a:pt x="947066" y="264786"/>
                    <a:pt x="940735" y="264786"/>
                  </a:cubicBezTo>
                  <a:cubicBezTo>
                    <a:pt x="933659" y="265158"/>
                    <a:pt x="926583" y="262924"/>
                    <a:pt x="920997" y="258082"/>
                  </a:cubicBezTo>
                  <a:cubicBezTo>
                    <a:pt x="915038" y="251751"/>
                    <a:pt x="915038" y="244675"/>
                    <a:pt x="915038" y="234248"/>
                  </a:cubicBezTo>
                  <a:lnTo>
                    <a:pt x="915038" y="194027"/>
                  </a:lnTo>
                  <a:lnTo>
                    <a:pt x="900514" y="194027"/>
                  </a:lnTo>
                  <a:lnTo>
                    <a:pt x="900514" y="180248"/>
                  </a:lnTo>
                  <a:lnTo>
                    <a:pt x="915038" y="180248"/>
                  </a:lnTo>
                  <a:close/>
                  <a:moveTo>
                    <a:pt x="519163" y="156041"/>
                  </a:moveTo>
                  <a:lnTo>
                    <a:pt x="536667" y="156041"/>
                  </a:lnTo>
                  <a:lnTo>
                    <a:pt x="536667" y="180248"/>
                  </a:lnTo>
                  <a:lnTo>
                    <a:pt x="561246" y="180248"/>
                  </a:lnTo>
                  <a:lnTo>
                    <a:pt x="561246" y="194027"/>
                  </a:lnTo>
                  <a:lnTo>
                    <a:pt x="536667" y="194027"/>
                  </a:lnTo>
                  <a:lnTo>
                    <a:pt x="536667" y="234248"/>
                  </a:lnTo>
                  <a:cubicBezTo>
                    <a:pt x="536667" y="240951"/>
                    <a:pt x="536667" y="250262"/>
                    <a:pt x="548956" y="250262"/>
                  </a:cubicBezTo>
                  <a:cubicBezTo>
                    <a:pt x="552680" y="250262"/>
                    <a:pt x="556404" y="249517"/>
                    <a:pt x="559756" y="248027"/>
                  </a:cubicBezTo>
                  <a:lnTo>
                    <a:pt x="564225" y="259944"/>
                  </a:lnTo>
                  <a:cubicBezTo>
                    <a:pt x="557894" y="263296"/>
                    <a:pt x="551563" y="264786"/>
                    <a:pt x="544860" y="264786"/>
                  </a:cubicBezTo>
                  <a:cubicBezTo>
                    <a:pt x="537784" y="265158"/>
                    <a:pt x="530708" y="262924"/>
                    <a:pt x="525122" y="258082"/>
                  </a:cubicBezTo>
                  <a:cubicBezTo>
                    <a:pt x="519163" y="251751"/>
                    <a:pt x="519163" y="244675"/>
                    <a:pt x="519163" y="234248"/>
                  </a:cubicBezTo>
                  <a:lnTo>
                    <a:pt x="519163" y="194027"/>
                  </a:lnTo>
                  <a:lnTo>
                    <a:pt x="504639" y="194027"/>
                  </a:lnTo>
                  <a:lnTo>
                    <a:pt x="504639" y="180248"/>
                  </a:lnTo>
                  <a:lnTo>
                    <a:pt x="519163" y="180248"/>
                  </a:lnTo>
                  <a:close/>
                  <a:moveTo>
                    <a:pt x="976114" y="150828"/>
                  </a:moveTo>
                  <a:lnTo>
                    <a:pt x="993617" y="150828"/>
                  </a:lnTo>
                  <a:lnTo>
                    <a:pt x="993617" y="262552"/>
                  </a:lnTo>
                  <a:lnTo>
                    <a:pt x="976114" y="262552"/>
                  </a:lnTo>
                  <a:close/>
                  <a:moveTo>
                    <a:pt x="866252" y="150828"/>
                  </a:moveTo>
                  <a:cubicBezTo>
                    <a:pt x="871838" y="150828"/>
                    <a:pt x="875935" y="155297"/>
                    <a:pt x="875935" y="160883"/>
                  </a:cubicBezTo>
                  <a:cubicBezTo>
                    <a:pt x="875935" y="166097"/>
                    <a:pt x="871838" y="170566"/>
                    <a:pt x="866252" y="170566"/>
                  </a:cubicBezTo>
                  <a:cubicBezTo>
                    <a:pt x="860666" y="170566"/>
                    <a:pt x="856569" y="166097"/>
                    <a:pt x="856569" y="160511"/>
                  </a:cubicBezTo>
                  <a:cubicBezTo>
                    <a:pt x="856569" y="154925"/>
                    <a:pt x="861038" y="150828"/>
                    <a:pt x="866252" y="150828"/>
                  </a:cubicBezTo>
                  <a:close/>
                  <a:moveTo>
                    <a:pt x="834597" y="150828"/>
                  </a:moveTo>
                  <a:cubicBezTo>
                    <a:pt x="840183" y="150828"/>
                    <a:pt x="844652" y="154925"/>
                    <a:pt x="844652" y="160511"/>
                  </a:cubicBezTo>
                  <a:cubicBezTo>
                    <a:pt x="844652" y="166097"/>
                    <a:pt x="840555" y="170566"/>
                    <a:pt x="834969" y="170566"/>
                  </a:cubicBezTo>
                  <a:cubicBezTo>
                    <a:pt x="829383" y="170566"/>
                    <a:pt x="824914" y="166469"/>
                    <a:pt x="824914" y="160883"/>
                  </a:cubicBezTo>
                  <a:cubicBezTo>
                    <a:pt x="824914" y="155297"/>
                    <a:pt x="829011" y="150828"/>
                    <a:pt x="834597" y="150828"/>
                  </a:cubicBezTo>
                  <a:close/>
                  <a:moveTo>
                    <a:pt x="1254307" y="150455"/>
                  </a:moveTo>
                  <a:lnTo>
                    <a:pt x="1254307" y="262179"/>
                  </a:lnTo>
                  <a:lnTo>
                    <a:pt x="1239410" y="262179"/>
                  </a:lnTo>
                  <a:lnTo>
                    <a:pt x="1239410" y="255476"/>
                  </a:lnTo>
                  <a:lnTo>
                    <a:pt x="1237921" y="256593"/>
                  </a:lnTo>
                  <a:cubicBezTo>
                    <a:pt x="1231590" y="261807"/>
                    <a:pt x="1223769" y="264414"/>
                    <a:pt x="1215576" y="264414"/>
                  </a:cubicBezTo>
                  <a:cubicBezTo>
                    <a:pt x="1193604" y="264414"/>
                    <a:pt x="1178707" y="247655"/>
                    <a:pt x="1178707" y="222331"/>
                  </a:cubicBezTo>
                  <a:cubicBezTo>
                    <a:pt x="1178707" y="197007"/>
                    <a:pt x="1195838" y="177641"/>
                    <a:pt x="1218555" y="177641"/>
                  </a:cubicBezTo>
                  <a:cubicBezTo>
                    <a:pt x="1224514" y="177641"/>
                    <a:pt x="1230472" y="178758"/>
                    <a:pt x="1235686" y="181738"/>
                  </a:cubicBezTo>
                  <a:lnTo>
                    <a:pt x="1236804" y="182483"/>
                  </a:lnTo>
                  <a:lnTo>
                    <a:pt x="1236804" y="181365"/>
                  </a:lnTo>
                  <a:lnTo>
                    <a:pt x="1236804" y="150827"/>
                  </a:lnTo>
                  <a:close/>
                  <a:moveTo>
                    <a:pt x="373177" y="150455"/>
                  </a:moveTo>
                  <a:cubicBezTo>
                    <a:pt x="403342" y="150455"/>
                    <a:pt x="424942" y="173545"/>
                    <a:pt x="424942" y="206689"/>
                  </a:cubicBezTo>
                  <a:cubicBezTo>
                    <a:pt x="424942" y="241696"/>
                    <a:pt x="403342" y="264786"/>
                    <a:pt x="372804" y="264786"/>
                  </a:cubicBezTo>
                  <a:cubicBezTo>
                    <a:pt x="342267" y="264786"/>
                    <a:pt x="321039" y="240952"/>
                    <a:pt x="321039" y="207434"/>
                  </a:cubicBezTo>
                  <a:cubicBezTo>
                    <a:pt x="321039" y="173917"/>
                    <a:pt x="342267" y="150455"/>
                    <a:pt x="373177" y="150455"/>
                  </a:cubicBezTo>
                  <a:close/>
                  <a:moveTo>
                    <a:pt x="388446" y="123269"/>
                  </a:moveTo>
                  <a:cubicBezTo>
                    <a:pt x="394032" y="123641"/>
                    <a:pt x="398129" y="128483"/>
                    <a:pt x="397756" y="133697"/>
                  </a:cubicBezTo>
                  <a:cubicBezTo>
                    <a:pt x="397384" y="138538"/>
                    <a:pt x="393660" y="142635"/>
                    <a:pt x="388446" y="143007"/>
                  </a:cubicBezTo>
                  <a:cubicBezTo>
                    <a:pt x="382860" y="142635"/>
                    <a:pt x="378763" y="137793"/>
                    <a:pt x="379135" y="132579"/>
                  </a:cubicBezTo>
                  <a:cubicBezTo>
                    <a:pt x="379508" y="127738"/>
                    <a:pt x="383604" y="123641"/>
                    <a:pt x="388446" y="123269"/>
                  </a:cubicBezTo>
                  <a:close/>
                  <a:moveTo>
                    <a:pt x="357163" y="123269"/>
                  </a:moveTo>
                  <a:cubicBezTo>
                    <a:pt x="362749" y="123269"/>
                    <a:pt x="367218" y="127366"/>
                    <a:pt x="367218" y="132952"/>
                  </a:cubicBezTo>
                  <a:cubicBezTo>
                    <a:pt x="367218" y="132952"/>
                    <a:pt x="367218" y="132952"/>
                    <a:pt x="367218" y="133324"/>
                  </a:cubicBezTo>
                  <a:cubicBezTo>
                    <a:pt x="367218" y="138538"/>
                    <a:pt x="362749" y="142635"/>
                    <a:pt x="357535" y="143007"/>
                  </a:cubicBezTo>
                  <a:cubicBezTo>
                    <a:pt x="351949" y="143007"/>
                    <a:pt x="347480" y="138910"/>
                    <a:pt x="347480" y="133324"/>
                  </a:cubicBezTo>
                  <a:cubicBezTo>
                    <a:pt x="347480" y="127738"/>
                    <a:pt x="351577" y="123269"/>
                    <a:pt x="357163" y="123269"/>
                  </a:cubicBezTo>
                  <a:close/>
                  <a:moveTo>
                    <a:pt x="465535" y="61820"/>
                  </a:moveTo>
                  <a:cubicBezTo>
                    <a:pt x="456224" y="61820"/>
                    <a:pt x="450266" y="68896"/>
                    <a:pt x="450266" y="79324"/>
                  </a:cubicBezTo>
                  <a:cubicBezTo>
                    <a:pt x="450266" y="89007"/>
                    <a:pt x="455852" y="95710"/>
                    <a:pt x="464045" y="95710"/>
                  </a:cubicBezTo>
                  <a:cubicBezTo>
                    <a:pt x="467769" y="95710"/>
                    <a:pt x="471493" y="94220"/>
                    <a:pt x="474845" y="91986"/>
                  </a:cubicBezTo>
                  <a:lnTo>
                    <a:pt x="474845" y="63683"/>
                  </a:lnTo>
                  <a:lnTo>
                    <a:pt x="474473" y="63683"/>
                  </a:lnTo>
                  <a:cubicBezTo>
                    <a:pt x="471493" y="62565"/>
                    <a:pt x="468514" y="61820"/>
                    <a:pt x="465535" y="61820"/>
                  </a:cubicBezTo>
                  <a:close/>
                  <a:moveTo>
                    <a:pt x="546721" y="61448"/>
                  </a:moveTo>
                  <a:cubicBezTo>
                    <a:pt x="538156" y="61448"/>
                    <a:pt x="532942" y="68524"/>
                    <a:pt x="532942" y="78952"/>
                  </a:cubicBezTo>
                  <a:cubicBezTo>
                    <a:pt x="532942" y="89379"/>
                    <a:pt x="538901" y="96828"/>
                    <a:pt x="547094" y="96828"/>
                  </a:cubicBezTo>
                  <a:cubicBezTo>
                    <a:pt x="555287" y="96828"/>
                    <a:pt x="560873" y="89752"/>
                    <a:pt x="560873" y="79324"/>
                  </a:cubicBezTo>
                  <a:cubicBezTo>
                    <a:pt x="560873" y="68897"/>
                    <a:pt x="555287" y="61448"/>
                    <a:pt x="546721" y="61448"/>
                  </a:cubicBezTo>
                  <a:close/>
                  <a:moveTo>
                    <a:pt x="409301" y="61076"/>
                  </a:moveTo>
                  <a:cubicBezTo>
                    <a:pt x="402225" y="61076"/>
                    <a:pt x="397012" y="66290"/>
                    <a:pt x="395894" y="74483"/>
                  </a:cubicBezTo>
                  <a:lnTo>
                    <a:pt x="395894" y="75228"/>
                  </a:lnTo>
                  <a:lnTo>
                    <a:pt x="420474" y="75228"/>
                  </a:lnTo>
                  <a:lnTo>
                    <a:pt x="420474" y="74483"/>
                  </a:lnTo>
                  <a:cubicBezTo>
                    <a:pt x="420474" y="68152"/>
                    <a:pt x="417494" y="61076"/>
                    <a:pt x="409301" y="61076"/>
                  </a:cubicBezTo>
                  <a:close/>
                  <a:moveTo>
                    <a:pt x="500170" y="57724"/>
                  </a:moveTo>
                  <a:lnTo>
                    <a:pt x="509853" y="57724"/>
                  </a:lnTo>
                  <a:lnTo>
                    <a:pt x="509853" y="103531"/>
                  </a:lnTo>
                  <a:lnTo>
                    <a:pt x="500170" y="103531"/>
                  </a:lnTo>
                  <a:close/>
                  <a:moveTo>
                    <a:pt x="606680" y="54000"/>
                  </a:moveTo>
                  <a:cubicBezTo>
                    <a:pt x="611149" y="53628"/>
                    <a:pt x="615246" y="55490"/>
                    <a:pt x="618597" y="58469"/>
                  </a:cubicBezTo>
                  <a:cubicBezTo>
                    <a:pt x="623439" y="63311"/>
                    <a:pt x="623439" y="69269"/>
                    <a:pt x="623439" y="76345"/>
                  </a:cubicBezTo>
                  <a:lnTo>
                    <a:pt x="623439" y="103904"/>
                  </a:lnTo>
                  <a:lnTo>
                    <a:pt x="614128" y="103904"/>
                  </a:lnTo>
                  <a:lnTo>
                    <a:pt x="614128" y="103531"/>
                  </a:lnTo>
                  <a:lnTo>
                    <a:pt x="614128" y="77090"/>
                  </a:lnTo>
                  <a:cubicBezTo>
                    <a:pt x="614128" y="70386"/>
                    <a:pt x="614128" y="66662"/>
                    <a:pt x="611521" y="64428"/>
                  </a:cubicBezTo>
                  <a:cubicBezTo>
                    <a:pt x="609659" y="62938"/>
                    <a:pt x="607425" y="61821"/>
                    <a:pt x="604818" y="62193"/>
                  </a:cubicBezTo>
                  <a:cubicBezTo>
                    <a:pt x="600721" y="62193"/>
                    <a:pt x="596625" y="63683"/>
                    <a:pt x="593273" y="65917"/>
                  </a:cubicBezTo>
                  <a:lnTo>
                    <a:pt x="592901" y="65917"/>
                  </a:lnTo>
                  <a:lnTo>
                    <a:pt x="592901" y="103531"/>
                  </a:lnTo>
                  <a:lnTo>
                    <a:pt x="583218" y="103531"/>
                  </a:lnTo>
                  <a:lnTo>
                    <a:pt x="583218" y="55490"/>
                  </a:lnTo>
                  <a:lnTo>
                    <a:pt x="591411" y="55490"/>
                  </a:lnTo>
                  <a:lnTo>
                    <a:pt x="591411" y="59586"/>
                  </a:lnTo>
                  <a:lnTo>
                    <a:pt x="592528" y="58842"/>
                  </a:lnTo>
                  <a:cubicBezTo>
                    <a:pt x="596625" y="55862"/>
                    <a:pt x="601839" y="54000"/>
                    <a:pt x="606680" y="54000"/>
                  </a:cubicBezTo>
                  <a:close/>
                  <a:moveTo>
                    <a:pt x="547094" y="54000"/>
                  </a:moveTo>
                  <a:cubicBezTo>
                    <a:pt x="561246" y="54000"/>
                    <a:pt x="570183" y="64055"/>
                    <a:pt x="570183" y="79324"/>
                  </a:cubicBezTo>
                  <a:cubicBezTo>
                    <a:pt x="570183" y="94593"/>
                    <a:pt x="559756" y="105021"/>
                    <a:pt x="545977" y="105021"/>
                  </a:cubicBezTo>
                  <a:cubicBezTo>
                    <a:pt x="532197" y="105021"/>
                    <a:pt x="522887" y="94966"/>
                    <a:pt x="522887" y="79697"/>
                  </a:cubicBezTo>
                  <a:cubicBezTo>
                    <a:pt x="522887" y="64428"/>
                    <a:pt x="532570" y="54000"/>
                    <a:pt x="547094" y="54000"/>
                  </a:cubicBezTo>
                  <a:close/>
                  <a:moveTo>
                    <a:pt x="409301" y="54000"/>
                  </a:moveTo>
                  <a:cubicBezTo>
                    <a:pt x="421963" y="54000"/>
                    <a:pt x="429784" y="63310"/>
                    <a:pt x="429412" y="78579"/>
                  </a:cubicBezTo>
                  <a:cubicBezTo>
                    <a:pt x="429412" y="79697"/>
                    <a:pt x="429412" y="80814"/>
                    <a:pt x="429412" y="81186"/>
                  </a:cubicBezTo>
                  <a:cubicBezTo>
                    <a:pt x="429412" y="81559"/>
                    <a:pt x="429412" y="81559"/>
                    <a:pt x="429412" y="81931"/>
                  </a:cubicBezTo>
                  <a:lnTo>
                    <a:pt x="395894" y="81931"/>
                  </a:lnTo>
                  <a:lnTo>
                    <a:pt x="395894" y="82676"/>
                  </a:lnTo>
                  <a:cubicBezTo>
                    <a:pt x="395894" y="83048"/>
                    <a:pt x="395894" y="83793"/>
                    <a:pt x="395894" y="84166"/>
                  </a:cubicBezTo>
                  <a:cubicBezTo>
                    <a:pt x="396267" y="91986"/>
                    <a:pt x="402970" y="97572"/>
                    <a:pt x="410791" y="97200"/>
                  </a:cubicBezTo>
                  <a:cubicBezTo>
                    <a:pt x="415632" y="97200"/>
                    <a:pt x="420101" y="95710"/>
                    <a:pt x="424198" y="93476"/>
                  </a:cubicBezTo>
                  <a:lnTo>
                    <a:pt x="427549" y="99807"/>
                  </a:lnTo>
                  <a:cubicBezTo>
                    <a:pt x="422336" y="102786"/>
                    <a:pt x="416377" y="104648"/>
                    <a:pt x="410046" y="104648"/>
                  </a:cubicBezTo>
                  <a:cubicBezTo>
                    <a:pt x="395894" y="104648"/>
                    <a:pt x="386584" y="94593"/>
                    <a:pt x="386584" y="79697"/>
                  </a:cubicBezTo>
                  <a:cubicBezTo>
                    <a:pt x="386584" y="64800"/>
                    <a:pt x="395894" y="54000"/>
                    <a:pt x="409301" y="54000"/>
                  </a:cubicBezTo>
                  <a:close/>
                  <a:moveTo>
                    <a:pt x="465907" y="53627"/>
                  </a:moveTo>
                  <a:cubicBezTo>
                    <a:pt x="472238" y="54000"/>
                    <a:pt x="478569" y="55489"/>
                    <a:pt x="484528" y="58469"/>
                  </a:cubicBezTo>
                  <a:lnTo>
                    <a:pt x="484528" y="103531"/>
                  </a:lnTo>
                  <a:cubicBezTo>
                    <a:pt x="484528" y="110979"/>
                    <a:pt x="484155" y="116193"/>
                    <a:pt x="479686" y="120662"/>
                  </a:cubicBezTo>
                  <a:cubicBezTo>
                    <a:pt x="474845" y="124758"/>
                    <a:pt x="468886" y="126993"/>
                    <a:pt x="462555" y="126620"/>
                  </a:cubicBezTo>
                  <a:cubicBezTo>
                    <a:pt x="455480" y="126993"/>
                    <a:pt x="448404" y="124758"/>
                    <a:pt x="442445" y="120289"/>
                  </a:cubicBezTo>
                  <a:lnTo>
                    <a:pt x="446542" y="113958"/>
                  </a:lnTo>
                  <a:cubicBezTo>
                    <a:pt x="451011" y="116938"/>
                    <a:pt x="456224" y="118800"/>
                    <a:pt x="461438" y="119172"/>
                  </a:cubicBezTo>
                  <a:cubicBezTo>
                    <a:pt x="464790" y="119172"/>
                    <a:pt x="468514" y="117683"/>
                    <a:pt x="471121" y="115448"/>
                  </a:cubicBezTo>
                  <a:cubicBezTo>
                    <a:pt x="474473" y="112469"/>
                    <a:pt x="474845" y="108372"/>
                    <a:pt x="474845" y="103531"/>
                  </a:cubicBezTo>
                  <a:lnTo>
                    <a:pt x="474845" y="99807"/>
                  </a:lnTo>
                  <a:lnTo>
                    <a:pt x="473728" y="100179"/>
                  </a:lnTo>
                  <a:lnTo>
                    <a:pt x="473355" y="100551"/>
                  </a:lnTo>
                  <a:cubicBezTo>
                    <a:pt x="470004" y="102414"/>
                    <a:pt x="465907" y="103531"/>
                    <a:pt x="461811" y="103531"/>
                  </a:cubicBezTo>
                  <a:cubicBezTo>
                    <a:pt x="447286" y="103531"/>
                    <a:pt x="440583" y="91241"/>
                    <a:pt x="440583" y="79696"/>
                  </a:cubicBezTo>
                  <a:cubicBezTo>
                    <a:pt x="440583" y="78951"/>
                    <a:pt x="440583" y="78579"/>
                    <a:pt x="440583" y="77834"/>
                  </a:cubicBezTo>
                  <a:cubicBezTo>
                    <a:pt x="440955" y="64055"/>
                    <a:pt x="452128" y="53255"/>
                    <a:pt x="465907" y="53627"/>
                  </a:cubicBezTo>
                  <a:close/>
                  <a:moveTo>
                    <a:pt x="342267" y="45807"/>
                  </a:moveTo>
                  <a:lnTo>
                    <a:pt x="342267" y="68152"/>
                  </a:lnTo>
                  <a:lnTo>
                    <a:pt x="347480" y="68152"/>
                  </a:lnTo>
                  <a:cubicBezTo>
                    <a:pt x="353067" y="68152"/>
                    <a:pt x="357536" y="67780"/>
                    <a:pt x="360887" y="64800"/>
                  </a:cubicBezTo>
                  <a:cubicBezTo>
                    <a:pt x="364984" y="60331"/>
                    <a:pt x="364984" y="53628"/>
                    <a:pt x="361260" y="48786"/>
                  </a:cubicBezTo>
                  <a:cubicBezTo>
                    <a:pt x="358280" y="46552"/>
                    <a:pt x="354556" y="45435"/>
                    <a:pt x="350832" y="45807"/>
                  </a:cubicBezTo>
                  <a:close/>
                  <a:moveTo>
                    <a:pt x="505011" y="37986"/>
                  </a:moveTo>
                  <a:cubicBezTo>
                    <a:pt x="508362" y="37986"/>
                    <a:pt x="510969" y="40593"/>
                    <a:pt x="510969" y="43945"/>
                  </a:cubicBezTo>
                  <a:cubicBezTo>
                    <a:pt x="510969" y="46924"/>
                    <a:pt x="508362" y="49531"/>
                    <a:pt x="505011" y="49531"/>
                  </a:cubicBezTo>
                  <a:cubicBezTo>
                    <a:pt x="501659" y="49531"/>
                    <a:pt x="499052" y="46924"/>
                    <a:pt x="499052" y="43945"/>
                  </a:cubicBezTo>
                  <a:cubicBezTo>
                    <a:pt x="499052" y="40593"/>
                    <a:pt x="501659" y="37986"/>
                    <a:pt x="505011" y="37986"/>
                  </a:cubicBezTo>
                  <a:close/>
                  <a:moveTo>
                    <a:pt x="331839" y="37614"/>
                  </a:moveTo>
                  <a:lnTo>
                    <a:pt x="348970" y="37614"/>
                  </a:lnTo>
                  <a:cubicBezTo>
                    <a:pt x="357536" y="37614"/>
                    <a:pt x="363867" y="37986"/>
                    <a:pt x="368708" y="42828"/>
                  </a:cubicBezTo>
                  <a:cubicBezTo>
                    <a:pt x="372060" y="46180"/>
                    <a:pt x="373922" y="51021"/>
                    <a:pt x="373922" y="55862"/>
                  </a:cubicBezTo>
                  <a:cubicBezTo>
                    <a:pt x="374294" y="59959"/>
                    <a:pt x="372804" y="64428"/>
                    <a:pt x="369825" y="67407"/>
                  </a:cubicBezTo>
                  <a:cubicBezTo>
                    <a:pt x="366846" y="70386"/>
                    <a:pt x="363122" y="72248"/>
                    <a:pt x="359025" y="72621"/>
                  </a:cubicBezTo>
                  <a:cubicBezTo>
                    <a:pt x="361632" y="72993"/>
                    <a:pt x="363867" y="74483"/>
                    <a:pt x="365729" y="76345"/>
                  </a:cubicBezTo>
                  <a:cubicBezTo>
                    <a:pt x="367591" y="78952"/>
                    <a:pt x="369080" y="81559"/>
                    <a:pt x="370198" y="84538"/>
                  </a:cubicBezTo>
                  <a:lnTo>
                    <a:pt x="378391" y="103531"/>
                  </a:lnTo>
                  <a:lnTo>
                    <a:pt x="367591" y="103531"/>
                  </a:lnTo>
                  <a:lnTo>
                    <a:pt x="359770" y="86028"/>
                  </a:lnTo>
                  <a:cubicBezTo>
                    <a:pt x="355301" y="76345"/>
                    <a:pt x="352694" y="75973"/>
                    <a:pt x="345246" y="75973"/>
                  </a:cubicBezTo>
                  <a:lnTo>
                    <a:pt x="341894" y="75973"/>
                  </a:lnTo>
                  <a:lnTo>
                    <a:pt x="341894" y="103531"/>
                  </a:lnTo>
                  <a:lnTo>
                    <a:pt x="331839" y="103531"/>
                  </a:lnTo>
                  <a:close/>
                  <a:moveTo>
                    <a:pt x="131481" y="12290"/>
                  </a:moveTo>
                  <a:cubicBezTo>
                    <a:pt x="122915" y="18248"/>
                    <a:pt x="116957" y="27186"/>
                    <a:pt x="113605" y="36869"/>
                  </a:cubicBezTo>
                  <a:cubicBezTo>
                    <a:pt x="110253" y="30166"/>
                    <a:pt x="102805" y="18621"/>
                    <a:pt x="96846" y="17876"/>
                  </a:cubicBezTo>
                  <a:cubicBezTo>
                    <a:pt x="90143" y="21972"/>
                    <a:pt x="89398" y="41338"/>
                    <a:pt x="92377" y="52883"/>
                  </a:cubicBezTo>
                  <a:cubicBezTo>
                    <a:pt x="83439" y="44317"/>
                    <a:pt x="67053" y="35007"/>
                    <a:pt x="60722" y="38731"/>
                  </a:cubicBezTo>
                  <a:cubicBezTo>
                    <a:pt x="58115" y="44690"/>
                    <a:pt x="63702" y="56607"/>
                    <a:pt x="67798" y="62938"/>
                  </a:cubicBezTo>
                  <a:cubicBezTo>
                    <a:pt x="58488" y="60703"/>
                    <a:pt x="43964" y="62193"/>
                    <a:pt x="38005" y="65917"/>
                  </a:cubicBezTo>
                  <a:cubicBezTo>
                    <a:pt x="45081" y="73738"/>
                    <a:pt x="54391" y="78579"/>
                    <a:pt x="64446" y="80069"/>
                  </a:cubicBezTo>
                  <a:cubicBezTo>
                    <a:pt x="74502" y="82303"/>
                    <a:pt x="84557" y="84538"/>
                    <a:pt x="90888" y="91614"/>
                  </a:cubicBezTo>
                  <a:cubicBezTo>
                    <a:pt x="103550" y="106138"/>
                    <a:pt x="132970" y="139655"/>
                    <a:pt x="134460" y="141145"/>
                  </a:cubicBezTo>
                  <a:cubicBezTo>
                    <a:pt x="132598" y="140772"/>
                    <a:pt x="88281" y="132207"/>
                    <a:pt x="69288" y="128483"/>
                  </a:cubicBezTo>
                  <a:cubicBezTo>
                    <a:pt x="59605" y="126621"/>
                    <a:pt x="52529" y="118800"/>
                    <a:pt x="45826" y="111352"/>
                  </a:cubicBezTo>
                  <a:cubicBezTo>
                    <a:pt x="39495" y="103531"/>
                    <a:pt x="30557" y="98317"/>
                    <a:pt x="20874" y="96083"/>
                  </a:cubicBezTo>
                  <a:cubicBezTo>
                    <a:pt x="20502" y="103159"/>
                    <a:pt x="26088" y="116566"/>
                    <a:pt x="32791" y="123641"/>
                  </a:cubicBezTo>
                  <a:cubicBezTo>
                    <a:pt x="25715" y="123269"/>
                    <a:pt x="12309" y="124014"/>
                    <a:pt x="8957" y="128483"/>
                  </a:cubicBezTo>
                  <a:cubicBezTo>
                    <a:pt x="9329" y="135931"/>
                    <a:pt x="25715" y="146359"/>
                    <a:pt x="37260" y="149710"/>
                  </a:cubicBezTo>
                  <a:cubicBezTo>
                    <a:pt x="25715" y="153062"/>
                    <a:pt x="9329" y="163490"/>
                    <a:pt x="8957" y="170938"/>
                  </a:cubicBezTo>
                  <a:cubicBezTo>
                    <a:pt x="11936" y="175407"/>
                    <a:pt x="25715" y="176152"/>
                    <a:pt x="32791" y="175779"/>
                  </a:cubicBezTo>
                  <a:cubicBezTo>
                    <a:pt x="26460" y="182855"/>
                    <a:pt x="20874" y="196262"/>
                    <a:pt x="20874" y="203338"/>
                  </a:cubicBezTo>
                  <a:cubicBezTo>
                    <a:pt x="30557" y="201476"/>
                    <a:pt x="39122" y="195890"/>
                    <a:pt x="45453" y="188069"/>
                  </a:cubicBezTo>
                  <a:cubicBezTo>
                    <a:pt x="52157" y="180248"/>
                    <a:pt x="59233" y="172428"/>
                    <a:pt x="68915" y="170566"/>
                  </a:cubicBezTo>
                  <a:cubicBezTo>
                    <a:pt x="87908" y="166841"/>
                    <a:pt x="131853" y="158276"/>
                    <a:pt x="134088" y="157903"/>
                  </a:cubicBezTo>
                  <a:cubicBezTo>
                    <a:pt x="132598" y="159393"/>
                    <a:pt x="103177" y="192910"/>
                    <a:pt x="90515" y="207434"/>
                  </a:cubicBezTo>
                  <a:cubicBezTo>
                    <a:pt x="84184" y="214883"/>
                    <a:pt x="74129" y="216745"/>
                    <a:pt x="64074" y="218979"/>
                  </a:cubicBezTo>
                  <a:cubicBezTo>
                    <a:pt x="53646" y="220469"/>
                    <a:pt x="44336" y="225310"/>
                    <a:pt x="37633" y="233131"/>
                  </a:cubicBezTo>
                  <a:cubicBezTo>
                    <a:pt x="43591" y="236483"/>
                    <a:pt x="58115" y="238345"/>
                    <a:pt x="67426" y="236110"/>
                  </a:cubicBezTo>
                  <a:cubicBezTo>
                    <a:pt x="63702" y="242069"/>
                    <a:pt x="57371" y="254359"/>
                    <a:pt x="58860" y="259572"/>
                  </a:cubicBezTo>
                  <a:cubicBezTo>
                    <a:pt x="65936" y="263297"/>
                    <a:pt x="81950" y="255103"/>
                    <a:pt x="91260" y="246166"/>
                  </a:cubicBezTo>
                  <a:cubicBezTo>
                    <a:pt x="88281" y="258455"/>
                    <a:pt x="89398" y="276331"/>
                    <a:pt x="96102" y="280800"/>
                  </a:cubicBezTo>
                  <a:cubicBezTo>
                    <a:pt x="101688" y="280055"/>
                    <a:pt x="109136" y="268138"/>
                    <a:pt x="112488" y="261807"/>
                  </a:cubicBezTo>
                  <a:cubicBezTo>
                    <a:pt x="115839" y="271490"/>
                    <a:pt x="122170" y="280055"/>
                    <a:pt x="130364" y="286386"/>
                  </a:cubicBezTo>
                  <a:cubicBezTo>
                    <a:pt x="133715" y="276703"/>
                    <a:pt x="133343" y="266276"/>
                    <a:pt x="129619" y="256593"/>
                  </a:cubicBezTo>
                  <a:cubicBezTo>
                    <a:pt x="126639" y="247283"/>
                    <a:pt x="123660" y="237600"/>
                    <a:pt x="126639" y="228290"/>
                  </a:cubicBezTo>
                  <a:cubicBezTo>
                    <a:pt x="132970" y="209669"/>
                    <a:pt x="147122" y="167586"/>
                    <a:pt x="147867" y="165724"/>
                  </a:cubicBezTo>
                  <a:cubicBezTo>
                    <a:pt x="148612" y="167959"/>
                    <a:pt x="162764" y="209669"/>
                    <a:pt x="169095" y="228290"/>
                  </a:cubicBezTo>
                  <a:cubicBezTo>
                    <a:pt x="172446" y="237228"/>
                    <a:pt x="169095" y="247283"/>
                    <a:pt x="166115" y="256593"/>
                  </a:cubicBezTo>
                  <a:cubicBezTo>
                    <a:pt x="162391" y="266276"/>
                    <a:pt x="162019" y="276703"/>
                    <a:pt x="165370" y="286386"/>
                  </a:cubicBezTo>
                  <a:cubicBezTo>
                    <a:pt x="173936" y="280055"/>
                    <a:pt x="179895" y="271490"/>
                    <a:pt x="183246" y="261807"/>
                  </a:cubicBezTo>
                  <a:cubicBezTo>
                    <a:pt x="186598" y="268510"/>
                    <a:pt x="194046" y="280055"/>
                    <a:pt x="199632" y="280800"/>
                  </a:cubicBezTo>
                  <a:cubicBezTo>
                    <a:pt x="206336" y="276703"/>
                    <a:pt x="207826" y="258828"/>
                    <a:pt x="204474" y="246166"/>
                  </a:cubicBezTo>
                  <a:cubicBezTo>
                    <a:pt x="213784" y="255476"/>
                    <a:pt x="229798" y="263297"/>
                    <a:pt x="236874" y="259572"/>
                  </a:cubicBezTo>
                  <a:cubicBezTo>
                    <a:pt x="239108" y="254359"/>
                    <a:pt x="232777" y="242069"/>
                    <a:pt x="229053" y="236110"/>
                  </a:cubicBezTo>
                  <a:cubicBezTo>
                    <a:pt x="238363" y="238345"/>
                    <a:pt x="252888" y="236855"/>
                    <a:pt x="258846" y="233131"/>
                  </a:cubicBezTo>
                  <a:cubicBezTo>
                    <a:pt x="252143" y="225310"/>
                    <a:pt x="242460" y="220469"/>
                    <a:pt x="232405" y="218979"/>
                  </a:cubicBezTo>
                  <a:cubicBezTo>
                    <a:pt x="222350" y="216745"/>
                    <a:pt x="212294" y="214510"/>
                    <a:pt x="205963" y="207434"/>
                  </a:cubicBezTo>
                  <a:cubicBezTo>
                    <a:pt x="193301" y="192910"/>
                    <a:pt x="163881" y="159393"/>
                    <a:pt x="162391" y="157903"/>
                  </a:cubicBezTo>
                  <a:cubicBezTo>
                    <a:pt x="164253" y="158276"/>
                    <a:pt x="208570" y="166841"/>
                    <a:pt x="227563" y="170566"/>
                  </a:cubicBezTo>
                  <a:cubicBezTo>
                    <a:pt x="237246" y="172428"/>
                    <a:pt x="244322" y="180248"/>
                    <a:pt x="251025" y="187697"/>
                  </a:cubicBezTo>
                  <a:cubicBezTo>
                    <a:pt x="257357" y="195517"/>
                    <a:pt x="266294" y="200731"/>
                    <a:pt x="275977" y="202966"/>
                  </a:cubicBezTo>
                  <a:cubicBezTo>
                    <a:pt x="276350" y="195890"/>
                    <a:pt x="270763" y="182483"/>
                    <a:pt x="264060" y="175407"/>
                  </a:cubicBezTo>
                  <a:cubicBezTo>
                    <a:pt x="271136" y="175779"/>
                    <a:pt x="284543" y="175034"/>
                    <a:pt x="289384" y="170938"/>
                  </a:cubicBezTo>
                  <a:cubicBezTo>
                    <a:pt x="289384" y="163490"/>
                    <a:pt x="272625" y="153062"/>
                    <a:pt x="261081" y="149710"/>
                  </a:cubicBezTo>
                  <a:cubicBezTo>
                    <a:pt x="272625" y="146359"/>
                    <a:pt x="289012" y="135931"/>
                    <a:pt x="289384" y="128483"/>
                  </a:cubicBezTo>
                  <a:cubicBezTo>
                    <a:pt x="286032" y="124014"/>
                    <a:pt x="272625" y="123269"/>
                    <a:pt x="265550" y="123641"/>
                  </a:cubicBezTo>
                  <a:cubicBezTo>
                    <a:pt x="271881" y="116566"/>
                    <a:pt x="277467" y="103159"/>
                    <a:pt x="277467" y="96083"/>
                  </a:cubicBezTo>
                  <a:cubicBezTo>
                    <a:pt x="267412" y="97945"/>
                    <a:pt x="258846" y="103531"/>
                    <a:pt x="252515" y="111352"/>
                  </a:cubicBezTo>
                  <a:cubicBezTo>
                    <a:pt x="245812" y="118800"/>
                    <a:pt x="238736" y="126621"/>
                    <a:pt x="229053" y="128483"/>
                  </a:cubicBezTo>
                  <a:cubicBezTo>
                    <a:pt x="210060" y="132207"/>
                    <a:pt x="165743" y="140772"/>
                    <a:pt x="163881" y="141145"/>
                  </a:cubicBezTo>
                  <a:cubicBezTo>
                    <a:pt x="165370" y="139655"/>
                    <a:pt x="194791" y="106138"/>
                    <a:pt x="207453" y="91614"/>
                  </a:cubicBezTo>
                  <a:cubicBezTo>
                    <a:pt x="213784" y="84166"/>
                    <a:pt x="223839" y="82303"/>
                    <a:pt x="233894" y="80069"/>
                  </a:cubicBezTo>
                  <a:cubicBezTo>
                    <a:pt x="244322" y="78952"/>
                    <a:pt x="253632" y="73738"/>
                    <a:pt x="260336" y="65917"/>
                  </a:cubicBezTo>
                  <a:cubicBezTo>
                    <a:pt x="254005" y="62193"/>
                    <a:pt x="239853" y="60703"/>
                    <a:pt x="230543" y="62938"/>
                  </a:cubicBezTo>
                  <a:cubicBezTo>
                    <a:pt x="234639" y="56607"/>
                    <a:pt x="240226" y="44690"/>
                    <a:pt x="237619" y="38731"/>
                  </a:cubicBezTo>
                  <a:cubicBezTo>
                    <a:pt x="231288" y="35379"/>
                    <a:pt x="214529" y="44317"/>
                    <a:pt x="205963" y="52883"/>
                  </a:cubicBezTo>
                  <a:cubicBezTo>
                    <a:pt x="208943" y="41338"/>
                    <a:pt x="207826" y="21600"/>
                    <a:pt x="201495" y="17876"/>
                  </a:cubicBezTo>
                  <a:cubicBezTo>
                    <a:pt x="195536" y="18621"/>
                    <a:pt x="187715" y="30166"/>
                    <a:pt x="184363" y="36869"/>
                  </a:cubicBezTo>
                  <a:cubicBezTo>
                    <a:pt x="181384" y="27559"/>
                    <a:pt x="172819" y="16014"/>
                    <a:pt x="166488" y="12290"/>
                  </a:cubicBezTo>
                  <a:cubicBezTo>
                    <a:pt x="163136" y="21972"/>
                    <a:pt x="163508" y="32400"/>
                    <a:pt x="167232" y="42083"/>
                  </a:cubicBezTo>
                  <a:cubicBezTo>
                    <a:pt x="170212" y="51393"/>
                    <a:pt x="173191" y="61076"/>
                    <a:pt x="170212" y="70386"/>
                  </a:cubicBezTo>
                  <a:cubicBezTo>
                    <a:pt x="164253" y="89007"/>
                    <a:pt x="149729" y="131090"/>
                    <a:pt x="148984" y="132952"/>
                  </a:cubicBezTo>
                  <a:cubicBezTo>
                    <a:pt x="148239" y="130717"/>
                    <a:pt x="134088" y="89007"/>
                    <a:pt x="127757" y="70386"/>
                  </a:cubicBezTo>
                  <a:cubicBezTo>
                    <a:pt x="124405" y="61448"/>
                    <a:pt x="127757" y="51393"/>
                    <a:pt x="130736" y="42083"/>
                  </a:cubicBezTo>
                  <a:cubicBezTo>
                    <a:pt x="134460" y="32772"/>
                    <a:pt x="134833" y="21972"/>
                    <a:pt x="131481" y="12290"/>
                  </a:cubicBezTo>
                  <a:close/>
                  <a:moveTo>
                    <a:pt x="134833" y="0"/>
                  </a:moveTo>
                  <a:cubicBezTo>
                    <a:pt x="151591" y="32772"/>
                    <a:pt x="131853" y="41338"/>
                    <a:pt x="134833" y="67779"/>
                  </a:cubicBezTo>
                  <a:cubicBezTo>
                    <a:pt x="138557" y="78952"/>
                    <a:pt x="144515" y="96828"/>
                    <a:pt x="148239" y="107255"/>
                  </a:cubicBezTo>
                  <a:cubicBezTo>
                    <a:pt x="152336" y="94966"/>
                    <a:pt x="157922" y="78207"/>
                    <a:pt x="161646" y="67779"/>
                  </a:cubicBezTo>
                  <a:cubicBezTo>
                    <a:pt x="164253" y="40966"/>
                    <a:pt x="144888" y="32400"/>
                    <a:pt x="161646" y="0"/>
                  </a:cubicBezTo>
                  <a:cubicBezTo>
                    <a:pt x="170584" y="4469"/>
                    <a:pt x="178777" y="11172"/>
                    <a:pt x="184363" y="19738"/>
                  </a:cubicBezTo>
                  <a:cubicBezTo>
                    <a:pt x="190322" y="12662"/>
                    <a:pt x="196281" y="8938"/>
                    <a:pt x="202612" y="9310"/>
                  </a:cubicBezTo>
                  <a:cubicBezTo>
                    <a:pt x="208943" y="12662"/>
                    <a:pt x="214157" y="21228"/>
                    <a:pt x="214901" y="34634"/>
                  </a:cubicBezTo>
                  <a:cubicBezTo>
                    <a:pt x="227191" y="27931"/>
                    <a:pt x="236501" y="29048"/>
                    <a:pt x="242088" y="32400"/>
                  </a:cubicBezTo>
                  <a:cubicBezTo>
                    <a:pt x="246557" y="38731"/>
                    <a:pt x="244322" y="49159"/>
                    <a:pt x="242832" y="53255"/>
                  </a:cubicBezTo>
                  <a:cubicBezTo>
                    <a:pt x="253260" y="53628"/>
                    <a:pt x="262943" y="57352"/>
                    <a:pt x="271136" y="62938"/>
                  </a:cubicBezTo>
                  <a:cubicBezTo>
                    <a:pt x="251770" y="93848"/>
                    <a:pt x="233894" y="81186"/>
                    <a:pt x="212294" y="96828"/>
                  </a:cubicBezTo>
                  <a:cubicBezTo>
                    <a:pt x="204101" y="106138"/>
                    <a:pt x="190322" y="121779"/>
                    <a:pt x="184736" y="128110"/>
                  </a:cubicBezTo>
                  <a:cubicBezTo>
                    <a:pt x="195536" y="125876"/>
                    <a:pt x="214157" y="122152"/>
                    <a:pt x="226074" y="119917"/>
                  </a:cubicBezTo>
                  <a:cubicBezTo>
                    <a:pt x="250281" y="109490"/>
                    <a:pt x="248046" y="87890"/>
                    <a:pt x="284543" y="85655"/>
                  </a:cubicBezTo>
                  <a:cubicBezTo>
                    <a:pt x="285660" y="95710"/>
                    <a:pt x="283798" y="106138"/>
                    <a:pt x="279329" y="115448"/>
                  </a:cubicBezTo>
                  <a:cubicBezTo>
                    <a:pt x="285288" y="116566"/>
                    <a:pt x="293481" y="119172"/>
                    <a:pt x="296460" y="125876"/>
                  </a:cubicBezTo>
                  <a:cubicBezTo>
                    <a:pt x="296460" y="133324"/>
                    <a:pt x="291991" y="141890"/>
                    <a:pt x="280074" y="149338"/>
                  </a:cubicBezTo>
                  <a:cubicBezTo>
                    <a:pt x="291619" y="156786"/>
                    <a:pt x="296832" y="165724"/>
                    <a:pt x="296460" y="173172"/>
                  </a:cubicBezTo>
                  <a:cubicBezTo>
                    <a:pt x="293481" y="179876"/>
                    <a:pt x="285660" y="182483"/>
                    <a:pt x="279329" y="183600"/>
                  </a:cubicBezTo>
                  <a:cubicBezTo>
                    <a:pt x="283798" y="192910"/>
                    <a:pt x="285660" y="203338"/>
                    <a:pt x="284543" y="213393"/>
                  </a:cubicBezTo>
                  <a:cubicBezTo>
                    <a:pt x="248791" y="211531"/>
                    <a:pt x="249908" y="189559"/>
                    <a:pt x="226074" y="179131"/>
                  </a:cubicBezTo>
                  <a:cubicBezTo>
                    <a:pt x="214529" y="176897"/>
                    <a:pt x="195536" y="173172"/>
                    <a:pt x="184736" y="170938"/>
                  </a:cubicBezTo>
                  <a:cubicBezTo>
                    <a:pt x="192184" y="179131"/>
                    <a:pt x="204474" y="193283"/>
                    <a:pt x="212294" y="202221"/>
                  </a:cubicBezTo>
                  <a:cubicBezTo>
                    <a:pt x="233894" y="217862"/>
                    <a:pt x="251398" y="205200"/>
                    <a:pt x="271136" y="236110"/>
                  </a:cubicBezTo>
                  <a:cubicBezTo>
                    <a:pt x="262943" y="241697"/>
                    <a:pt x="253260" y="245048"/>
                    <a:pt x="243205" y="245793"/>
                  </a:cubicBezTo>
                  <a:cubicBezTo>
                    <a:pt x="245812" y="251752"/>
                    <a:pt x="247301" y="259945"/>
                    <a:pt x="243205" y="265903"/>
                  </a:cubicBezTo>
                  <a:cubicBezTo>
                    <a:pt x="236874" y="269628"/>
                    <a:pt x="226819" y="270000"/>
                    <a:pt x="214901" y="264041"/>
                  </a:cubicBezTo>
                  <a:cubicBezTo>
                    <a:pt x="214157" y="277448"/>
                    <a:pt x="208570" y="285641"/>
                    <a:pt x="202239" y="289366"/>
                  </a:cubicBezTo>
                  <a:cubicBezTo>
                    <a:pt x="194791" y="290110"/>
                    <a:pt x="187715" y="283407"/>
                    <a:pt x="184363" y="278938"/>
                  </a:cubicBezTo>
                  <a:cubicBezTo>
                    <a:pt x="178777" y="287503"/>
                    <a:pt x="170957" y="294207"/>
                    <a:pt x="161646" y="298676"/>
                  </a:cubicBezTo>
                  <a:cubicBezTo>
                    <a:pt x="144888" y="266648"/>
                    <a:pt x="164253" y="257338"/>
                    <a:pt x="161646" y="230897"/>
                  </a:cubicBezTo>
                  <a:cubicBezTo>
                    <a:pt x="157922" y="219724"/>
                    <a:pt x="151964" y="201848"/>
                    <a:pt x="148239" y="191421"/>
                  </a:cubicBezTo>
                  <a:cubicBezTo>
                    <a:pt x="144143" y="203710"/>
                    <a:pt x="138557" y="220469"/>
                    <a:pt x="134833" y="230897"/>
                  </a:cubicBezTo>
                  <a:cubicBezTo>
                    <a:pt x="131853" y="257710"/>
                    <a:pt x="151591" y="265903"/>
                    <a:pt x="134833" y="298676"/>
                  </a:cubicBezTo>
                  <a:cubicBezTo>
                    <a:pt x="125522" y="294207"/>
                    <a:pt x="117701" y="287503"/>
                    <a:pt x="112115" y="278938"/>
                  </a:cubicBezTo>
                  <a:cubicBezTo>
                    <a:pt x="108764" y="283407"/>
                    <a:pt x="101688" y="290110"/>
                    <a:pt x="94239" y="289366"/>
                  </a:cubicBezTo>
                  <a:cubicBezTo>
                    <a:pt x="87536" y="286014"/>
                    <a:pt x="82322" y="277448"/>
                    <a:pt x="81577" y="264041"/>
                  </a:cubicBezTo>
                  <a:cubicBezTo>
                    <a:pt x="69660" y="270372"/>
                    <a:pt x="59605" y="269628"/>
                    <a:pt x="53274" y="265903"/>
                  </a:cubicBezTo>
                  <a:cubicBezTo>
                    <a:pt x="49177" y="259945"/>
                    <a:pt x="51040" y="251752"/>
                    <a:pt x="53274" y="245793"/>
                  </a:cubicBezTo>
                  <a:cubicBezTo>
                    <a:pt x="43219" y="245421"/>
                    <a:pt x="33536" y="241697"/>
                    <a:pt x="25343" y="236110"/>
                  </a:cubicBezTo>
                  <a:cubicBezTo>
                    <a:pt x="44708" y="205200"/>
                    <a:pt x="62584" y="217862"/>
                    <a:pt x="84184" y="202221"/>
                  </a:cubicBezTo>
                  <a:cubicBezTo>
                    <a:pt x="92005" y="193283"/>
                    <a:pt x="104295" y="179131"/>
                    <a:pt x="111743" y="170938"/>
                  </a:cubicBezTo>
                  <a:cubicBezTo>
                    <a:pt x="98708" y="173545"/>
                    <a:pt x="81205" y="176897"/>
                    <a:pt x="70405" y="179131"/>
                  </a:cubicBezTo>
                  <a:cubicBezTo>
                    <a:pt x="46198" y="189559"/>
                    <a:pt x="47688" y="211531"/>
                    <a:pt x="11936" y="213393"/>
                  </a:cubicBezTo>
                  <a:cubicBezTo>
                    <a:pt x="10819" y="203338"/>
                    <a:pt x="12681" y="192910"/>
                    <a:pt x="17150" y="183600"/>
                  </a:cubicBezTo>
                  <a:cubicBezTo>
                    <a:pt x="11191" y="182483"/>
                    <a:pt x="2998" y="179876"/>
                    <a:pt x="19" y="173172"/>
                  </a:cubicBezTo>
                  <a:cubicBezTo>
                    <a:pt x="-354" y="165724"/>
                    <a:pt x="4488" y="157159"/>
                    <a:pt x="16405" y="149710"/>
                  </a:cubicBezTo>
                  <a:cubicBezTo>
                    <a:pt x="4488" y="142262"/>
                    <a:pt x="19" y="133324"/>
                    <a:pt x="19" y="126248"/>
                  </a:cubicBezTo>
                  <a:cubicBezTo>
                    <a:pt x="2998" y="119545"/>
                    <a:pt x="10819" y="116938"/>
                    <a:pt x="17150" y="115821"/>
                  </a:cubicBezTo>
                  <a:cubicBezTo>
                    <a:pt x="12681" y="106510"/>
                    <a:pt x="10819" y="96083"/>
                    <a:pt x="11936" y="86028"/>
                  </a:cubicBezTo>
                  <a:cubicBezTo>
                    <a:pt x="48433" y="88262"/>
                    <a:pt x="46571" y="109862"/>
                    <a:pt x="70405" y="120290"/>
                  </a:cubicBezTo>
                  <a:cubicBezTo>
                    <a:pt x="81950" y="122897"/>
                    <a:pt x="100943" y="126248"/>
                    <a:pt x="111743" y="128483"/>
                  </a:cubicBezTo>
                  <a:cubicBezTo>
                    <a:pt x="106157" y="122524"/>
                    <a:pt x="92377" y="106510"/>
                    <a:pt x="84184" y="97200"/>
                  </a:cubicBezTo>
                  <a:cubicBezTo>
                    <a:pt x="62584" y="81559"/>
                    <a:pt x="45081" y="94593"/>
                    <a:pt x="25343" y="63683"/>
                  </a:cubicBezTo>
                  <a:cubicBezTo>
                    <a:pt x="33908" y="57724"/>
                    <a:pt x="43591" y="54372"/>
                    <a:pt x="53646" y="53628"/>
                  </a:cubicBezTo>
                  <a:cubicBezTo>
                    <a:pt x="52157" y="49159"/>
                    <a:pt x="49922" y="39103"/>
                    <a:pt x="54391" y="32400"/>
                  </a:cubicBezTo>
                  <a:cubicBezTo>
                    <a:pt x="59977" y="28676"/>
                    <a:pt x="68915" y="27931"/>
                    <a:pt x="81577" y="34634"/>
                  </a:cubicBezTo>
                  <a:cubicBezTo>
                    <a:pt x="82322" y="21228"/>
                    <a:pt x="87536" y="12662"/>
                    <a:pt x="93867" y="9310"/>
                  </a:cubicBezTo>
                  <a:cubicBezTo>
                    <a:pt x="100198" y="8938"/>
                    <a:pt x="106157" y="12662"/>
                    <a:pt x="112115" y="19738"/>
                  </a:cubicBezTo>
                  <a:cubicBezTo>
                    <a:pt x="117701" y="11172"/>
                    <a:pt x="125522" y="4469"/>
                    <a:pt x="134833" y="0"/>
                  </a:cubicBezTo>
                  <a:close/>
                </a:path>
              </a:pathLst>
            </a:custGeom>
            <a:solidFill>
              <a:srgbClr val="FFFFFF"/>
            </a:solidFill>
            <a:ln w="3709" cap="flat">
              <a:noFill/>
              <a:prstDash val="solid"/>
              <a:miter/>
            </a:ln>
          </p:spPr>
          <p:txBody>
            <a:bodyPr wrap="square" rtlCol="0" anchor="ctr">
              <a:noAutofit/>
            </a:bodyPr>
            <a:lstStyle/>
            <a:p>
              <a:endParaRPr lang="sv-SE" sz="1350"/>
            </a:p>
          </p:txBody>
        </p:sp>
      </p:grpSp>
      <p:grpSp>
        <p:nvGrpSpPr>
          <p:cNvPr id="16" name="Folktandvården" hidden="1">
            <a:extLst>
              <a:ext uri="{FF2B5EF4-FFF2-40B4-BE49-F238E27FC236}">
                <a16:creationId xmlns:a16="http://schemas.microsoft.com/office/drawing/2014/main" id="{746F078E-D579-46C7-A623-9E12CB9705B6}"/>
              </a:ext>
            </a:extLst>
          </p:cNvPr>
          <p:cNvGrpSpPr/>
          <p:nvPr userDrawn="1"/>
        </p:nvGrpSpPr>
        <p:grpSpPr>
          <a:xfrm>
            <a:off x="7490644" y="4673580"/>
            <a:ext cx="1653356" cy="324970"/>
            <a:chOff x="9987525" y="6231440"/>
            <a:chExt cx="2204474" cy="433293"/>
          </a:xfrm>
        </p:grpSpPr>
        <p:sp>
          <p:nvSpPr>
            <p:cNvPr id="20" name="Rektangel 19">
              <a:extLst>
                <a:ext uri="{FF2B5EF4-FFF2-40B4-BE49-F238E27FC236}">
                  <a16:creationId xmlns:a16="http://schemas.microsoft.com/office/drawing/2014/main" id="{1A51712D-2CB1-4F81-AFD7-FD0CE13F0351}"/>
                </a:ext>
              </a:extLst>
            </p:cNvPr>
            <p:cNvSpPr/>
            <p:nvPr userDrawn="1"/>
          </p:nvSpPr>
          <p:spPr>
            <a:xfrm>
              <a:off x="11604170" y="6231440"/>
              <a:ext cx="587829" cy="433117"/>
            </a:xfrm>
            <a:prstGeom prst="rect">
              <a:avLst/>
            </a:prstGeom>
            <a:solidFill>
              <a:srgbClr val="0861CE"/>
            </a:solidFill>
            <a:ln w="3709" cap="flat">
              <a:noFill/>
              <a:prstDash val="solid"/>
              <a:miter/>
            </a:ln>
          </p:spPr>
          <p:txBody>
            <a:bodyPr rtlCol="0" anchor="ctr"/>
            <a:lstStyle/>
            <a:p>
              <a:endParaRPr lang="sv-SE" sz="1350"/>
            </a:p>
          </p:txBody>
        </p:sp>
        <p:sp>
          <p:nvSpPr>
            <p:cNvPr id="21" name="Frihandsfigur: Form 20">
              <a:extLst>
                <a:ext uri="{FF2B5EF4-FFF2-40B4-BE49-F238E27FC236}">
                  <a16:creationId xmlns:a16="http://schemas.microsoft.com/office/drawing/2014/main" id="{83FCB5D7-D416-4CB2-B4AE-9AD5297E943C}"/>
                </a:ext>
              </a:extLst>
            </p:cNvPr>
            <p:cNvSpPr/>
            <p:nvPr userDrawn="1"/>
          </p:nvSpPr>
          <p:spPr>
            <a:xfrm>
              <a:off x="9987525" y="6231616"/>
              <a:ext cx="1616646" cy="433117"/>
            </a:xfrm>
            <a:custGeom>
              <a:avLst/>
              <a:gdLst>
                <a:gd name="connsiteX0" fmla="*/ 216372 w 1616646"/>
                <a:gd name="connsiteY0" fmla="*/ 0 h 433117"/>
                <a:gd name="connsiteX1" fmla="*/ 1616646 w 1616646"/>
                <a:gd name="connsiteY1" fmla="*/ 0 h 433117"/>
                <a:gd name="connsiteX2" fmla="*/ 1616646 w 1616646"/>
                <a:gd name="connsiteY2" fmla="*/ 0 h 433117"/>
                <a:gd name="connsiteX3" fmla="*/ 1616646 w 1616646"/>
                <a:gd name="connsiteY3" fmla="*/ 433117 h 433117"/>
                <a:gd name="connsiteX4" fmla="*/ 1616646 w 1616646"/>
                <a:gd name="connsiteY4" fmla="*/ 433117 h 433117"/>
                <a:gd name="connsiteX5" fmla="*/ 216372 w 1616646"/>
                <a:gd name="connsiteY5" fmla="*/ 433117 h 433117"/>
                <a:gd name="connsiteX6" fmla="*/ 0 w 1616646"/>
                <a:gd name="connsiteY6" fmla="*/ 216372 h 433117"/>
                <a:gd name="connsiteX7" fmla="*/ 0 w 1616646"/>
                <a:gd name="connsiteY7" fmla="*/ 216372 h 433117"/>
                <a:gd name="connsiteX8" fmla="*/ 0 w 1616646"/>
                <a:gd name="connsiteY8" fmla="*/ 216372 h 433117"/>
                <a:gd name="connsiteX9" fmla="*/ 216372 w 1616646"/>
                <a:gd name="connsiteY9" fmla="*/ 0 h 433117"/>
                <a:gd name="connsiteX10" fmla="*/ 216372 w 1616646"/>
                <a:gd name="connsiteY10" fmla="*/ 0 h 43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646" h="433117">
                  <a:moveTo>
                    <a:pt x="216372" y="0"/>
                  </a:moveTo>
                  <a:lnTo>
                    <a:pt x="1616646" y="0"/>
                  </a:lnTo>
                  <a:lnTo>
                    <a:pt x="1616646" y="0"/>
                  </a:lnTo>
                  <a:lnTo>
                    <a:pt x="1616646" y="433117"/>
                  </a:lnTo>
                  <a:lnTo>
                    <a:pt x="1616646" y="433117"/>
                  </a:lnTo>
                  <a:lnTo>
                    <a:pt x="216372" y="433117"/>
                  </a:lnTo>
                  <a:cubicBezTo>
                    <a:pt x="96827" y="433117"/>
                    <a:pt x="0" y="335917"/>
                    <a:pt x="0" y="216372"/>
                  </a:cubicBezTo>
                  <a:cubicBezTo>
                    <a:pt x="0" y="216372"/>
                    <a:pt x="0" y="216372"/>
                    <a:pt x="0" y="216372"/>
                  </a:cubicBezTo>
                  <a:lnTo>
                    <a:pt x="0" y="216372"/>
                  </a:lnTo>
                  <a:cubicBezTo>
                    <a:pt x="0" y="96828"/>
                    <a:pt x="96827" y="0"/>
                    <a:pt x="216372" y="0"/>
                  </a:cubicBezTo>
                  <a:cubicBezTo>
                    <a:pt x="216372" y="0"/>
                    <a:pt x="216372" y="0"/>
                    <a:pt x="216372" y="0"/>
                  </a:cubicBezTo>
                  <a:close/>
                </a:path>
              </a:pathLst>
            </a:custGeom>
            <a:solidFill>
              <a:srgbClr val="0861CE"/>
            </a:solidFill>
            <a:ln w="3709" cap="flat">
              <a:noFill/>
              <a:prstDash val="solid"/>
              <a:miter/>
            </a:ln>
          </p:spPr>
          <p:txBody>
            <a:bodyPr rtlCol="0" anchor="ctr"/>
            <a:lstStyle/>
            <a:p>
              <a:endParaRPr lang="sv-SE" sz="1350"/>
            </a:p>
          </p:txBody>
        </p:sp>
        <p:pic>
          <p:nvPicPr>
            <p:cNvPr id="22" name="Bild 21">
              <a:extLst>
                <a:ext uri="{FF2B5EF4-FFF2-40B4-BE49-F238E27FC236}">
                  <a16:creationId xmlns:a16="http://schemas.microsoft.com/office/drawing/2014/main" id="{44F92256-C694-4995-8AAD-4CF4D57DFA6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71462" y="6301064"/>
              <a:ext cx="1832076" cy="305346"/>
            </a:xfrm>
            <a:prstGeom prst="rect">
              <a:avLst/>
            </a:prstGeom>
          </p:spPr>
        </p:pic>
      </p:grpSp>
    </p:spTree>
    <p:extLst>
      <p:ext uri="{BB962C8B-B14F-4D97-AF65-F5344CB8AC3E}">
        <p14:creationId xmlns:p14="http://schemas.microsoft.com/office/powerpoint/2010/main" val="1049748306"/>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vsnittsdelare">
    <p:bg>
      <p:bgPr>
        <a:solidFill>
          <a:schemeClr val="bg1"/>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297C9A02-F520-4F33-9513-C176F152181E}"/>
              </a:ext>
              <a:ext uri="{C183D7F6-B498-43B3-948B-1728B52AA6E4}">
                <adec:decorative xmlns:adec="http://schemas.microsoft.com/office/drawing/2017/decorative" val="1"/>
              </a:ext>
            </a:extLst>
          </p:cNvPr>
          <p:cNvSpPr/>
          <p:nvPr userDrawn="1"/>
        </p:nvSpPr>
        <p:spPr>
          <a:xfrm>
            <a:off x="135000" y="1923700"/>
            <a:ext cx="8874000" cy="26162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sp>
        <p:nvSpPr>
          <p:cNvPr id="2" name="Rubrik 1">
            <a:extLst>
              <a:ext uri="{FF2B5EF4-FFF2-40B4-BE49-F238E27FC236}">
                <a16:creationId xmlns:a16="http://schemas.microsoft.com/office/drawing/2014/main" id="{238D417C-D98B-42D1-8332-541A31DFF270}"/>
              </a:ext>
            </a:extLst>
          </p:cNvPr>
          <p:cNvSpPr>
            <a:spLocks noGrp="1"/>
          </p:cNvSpPr>
          <p:nvPr>
            <p:ph type="ctrTitle" hasCustomPrompt="1"/>
          </p:nvPr>
        </p:nvSpPr>
        <p:spPr>
          <a:xfrm>
            <a:off x="1290638" y="326308"/>
            <a:ext cx="6562725" cy="881786"/>
          </a:xfrm>
        </p:spPr>
        <p:txBody>
          <a:bodyPr anchor="b"/>
          <a:lstStyle>
            <a:lvl1pPr algn="ctr">
              <a:defRPr sz="3000">
                <a:solidFill>
                  <a:schemeClr val="accent6"/>
                </a:solidFill>
              </a:defRPr>
            </a:lvl1pPr>
          </a:lstStyle>
          <a:p>
            <a:r>
              <a:rPr lang="sv-SE" dirty="0"/>
              <a:t>Klicka och skriv titel</a:t>
            </a:r>
          </a:p>
        </p:txBody>
      </p:sp>
      <p:sp>
        <p:nvSpPr>
          <p:cNvPr id="3" name="Underrubrik 2">
            <a:extLst>
              <a:ext uri="{FF2B5EF4-FFF2-40B4-BE49-F238E27FC236}">
                <a16:creationId xmlns:a16="http://schemas.microsoft.com/office/drawing/2014/main" id="{D716B026-314C-4514-80D8-702DADFD4090}"/>
              </a:ext>
            </a:extLst>
          </p:cNvPr>
          <p:cNvSpPr>
            <a:spLocks noGrp="1"/>
          </p:cNvSpPr>
          <p:nvPr>
            <p:ph type="subTitle" idx="1" hasCustomPrompt="1"/>
          </p:nvPr>
        </p:nvSpPr>
        <p:spPr>
          <a:xfrm>
            <a:off x="1290638" y="1244060"/>
            <a:ext cx="6562725" cy="603176"/>
          </a:xfrm>
        </p:spPr>
        <p:txBody>
          <a:bodyPr/>
          <a:lstStyle>
            <a:lvl1pPr marL="0" indent="0" algn="ctr">
              <a:lnSpc>
                <a:spcPct val="100000"/>
              </a:lnSpc>
              <a:spcBef>
                <a:spcPts val="0"/>
              </a:spcBef>
              <a:buNone/>
              <a:defRPr sz="1800">
                <a:solidFill>
                  <a:schemeClr val="accent6"/>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dirty="0"/>
              <a:t>Klicka och skriv underrubrik</a:t>
            </a:r>
          </a:p>
        </p:txBody>
      </p:sp>
      <p:sp>
        <p:nvSpPr>
          <p:cNvPr id="6" name="Platshållare för bildnummer 5">
            <a:extLst>
              <a:ext uri="{FF2B5EF4-FFF2-40B4-BE49-F238E27FC236}">
                <a16:creationId xmlns:a16="http://schemas.microsoft.com/office/drawing/2014/main" id="{22273EDF-9F62-4D63-A459-24ADD9922D77}"/>
              </a:ext>
            </a:extLst>
          </p:cNvPr>
          <p:cNvSpPr>
            <a:spLocks noGrp="1"/>
          </p:cNvSpPr>
          <p:nvPr>
            <p:ph type="sldNum" sz="quarter" idx="12"/>
          </p:nvPr>
        </p:nvSpPr>
        <p:spPr/>
        <p:txBody>
          <a:bodyPr/>
          <a:lstStyle/>
          <a:p>
            <a:fld id="{5204B58B-0420-4827-A2A8-7A3D043AFDDE}" type="slidenum">
              <a:rPr lang="sv-SE" smtClean="0"/>
              <a:pPr/>
              <a:t>‹#›</a:t>
            </a:fld>
            <a:endParaRPr lang="sv-SE" dirty="0"/>
          </a:p>
        </p:txBody>
      </p:sp>
      <p:sp>
        <p:nvSpPr>
          <p:cNvPr id="13" name="Frihandsfigur: Form 12">
            <a:extLst>
              <a:ext uri="{FF2B5EF4-FFF2-40B4-BE49-F238E27FC236}">
                <a16:creationId xmlns:a16="http://schemas.microsoft.com/office/drawing/2014/main" id="{9BBA449D-6D42-44A4-BE47-ADDD319FD561}"/>
              </a:ext>
              <a:ext uri="{C183D7F6-B498-43B3-948B-1728B52AA6E4}">
                <adec:decorative xmlns:adec="http://schemas.microsoft.com/office/drawing/2017/decorative" val="1"/>
              </a:ext>
            </a:extLst>
          </p:cNvPr>
          <p:cNvSpPr/>
          <p:nvPr userDrawn="1"/>
        </p:nvSpPr>
        <p:spPr>
          <a:xfrm>
            <a:off x="135000" y="1891482"/>
            <a:ext cx="6173002" cy="2616226"/>
          </a:xfrm>
          <a:custGeom>
            <a:avLst/>
            <a:gdLst>
              <a:gd name="connsiteX0" fmla="*/ 2054937 w 8230669"/>
              <a:gd name="connsiteY0" fmla="*/ 1585345 h 3488301"/>
              <a:gd name="connsiteX1" fmla="*/ 2701686 w 8230669"/>
              <a:gd name="connsiteY1" fmla="*/ 3464938 h 3488301"/>
              <a:gd name="connsiteX2" fmla="*/ 2709658 w 8230669"/>
              <a:gd name="connsiteY2" fmla="*/ 3488301 h 3488301"/>
              <a:gd name="connsiteX3" fmla="*/ 2347235 w 8230669"/>
              <a:gd name="connsiteY3" fmla="*/ 3488301 h 3488301"/>
              <a:gd name="connsiteX4" fmla="*/ 2336199 w 8230669"/>
              <a:gd name="connsiteY4" fmla="*/ 3455929 h 3488301"/>
              <a:gd name="connsiteX5" fmla="*/ 2058502 w 8230669"/>
              <a:gd name="connsiteY5" fmla="*/ 2644893 h 3488301"/>
              <a:gd name="connsiteX6" fmla="*/ 1916896 w 8230669"/>
              <a:gd name="connsiteY6" fmla="*/ 3057220 h 3488301"/>
              <a:gd name="connsiteX7" fmla="*/ 1769291 w 8230669"/>
              <a:gd name="connsiteY7" fmla="*/ 3488301 h 3488301"/>
              <a:gd name="connsiteX8" fmla="*/ 1404039 w 8230669"/>
              <a:gd name="connsiteY8" fmla="*/ 3488301 h 3488301"/>
              <a:gd name="connsiteX9" fmla="*/ 1411947 w 8230669"/>
              <a:gd name="connsiteY9" fmla="*/ 3465314 h 3488301"/>
              <a:gd name="connsiteX10" fmla="*/ 2054937 w 8230669"/>
              <a:gd name="connsiteY10" fmla="*/ 1585345 h 3488301"/>
              <a:gd name="connsiteX11" fmla="*/ 1465011 w 8230669"/>
              <a:gd name="connsiteY11" fmla="*/ 1238697 h 3488301"/>
              <a:gd name="connsiteX12" fmla="*/ 0 w 8230669"/>
              <a:gd name="connsiteY12" fmla="*/ 2903320 h 3488301"/>
              <a:gd name="connsiteX13" fmla="*/ 0 w 8230669"/>
              <a:gd name="connsiteY13" fmla="*/ 2380229 h 3488301"/>
              <a:gd name="connsiteX14" fmla="*/ 534676 w 8230669"/>
              <a:gd name="connsiteY14" fmla="*/ 1772481 h 3488301"/>
              <a:gd name="connsiteX15" fmla="*/ 0 w 8230669"/>
              <a:gd name="connsiteY15" fmla="*/ 1877634 h 3488301"/>
              <a:gd name="connsiteX16" fmla="*/ 0 w 8230669"/>
              <a:gd name="connsiteY16" fmla="*/ 1521183 h 3488301"/>
              <a:gd name="connsiteX17" fmla="*/ 7869235 w 8230669"/>
              <a:gd name="connsiteY17" fmla="*/ 0 h 3488301"/>
              <a:gd name="connsiteX18" fmla="*/ 8225605 w 8230669"/>
              <a:gd name="connsiteY18" fmla="*/ 0 h 3488301"/>
              <a:gd name="connsiteX19" fmla="*/ 8223514 w 8230669"/>
              <a:gd name="connsiteY19" fmla="*/ 34669 h 3488301"/>
              <a:gd name="connsiteX20" fmla="*/ 7547836 w 8230669"/>
              <a:gd name="connsiteY20" fmla="*/ 892049 h 3488301"/>
              <a:gd name="connsiteX21" fmla="*/ 8230440 w 8230669"/>
              <a:gd name="connsiteY21" fmla="*/ 1864267 h 3488301"/>
              <a:gd name="connsiteX22" fmla="*/ 7510410 w 8230669"/>
              <a:gd name="connsiteY22" fmla="*/ 2293789 h 3488301"/>
              <a:gd name="connsiteX23" fmla="*/ 7733852 w 8230669"/>
              <a:gd name="connsiteY23" fmla="*/ 3421263 h 3488301"/>
              <a:gd name="connsiteX24" fmla="*/ 7733443 w 8230669"/>
              <a:gd name="connsiteY24" fmla="*/ 3488301 h 3488301"/>
              <a:gd name="connsiteX25" fmla="*/ 7378213 w 8230669"/>
              <a:gd name="connsiteY25" fmla="*/ 3488301 h 3488301"/>
              <a:gd name="connsiteX26" fmla="*/ 7241634 w 8230669"/>
              <a:gd name="connsiteY26" fmla="*/ 3463295 h 3488301"/>
              <a:gd name="connsiteX27" fmla="*/ 5303090 w 8230669"/>
              <a:gd name="connsiteY27" fmla="*/ 2106654 h 3488301"/>
              <a:gd name="connsiteX28" fmla="*/ 3578762 w 8230669"/>
              <a:gd name="connsiteY28" fmla="*/ 1768026 h 3488301"/>
              <a:gd name="connsiteX29" fmla="*/ 4721185 w 8230669"/>
              <a:gd name="connsiteY29" fmla="*/ 3081546 h 3488301"/>
              <a:gd name="connsiteX30" fmla="*/ 5678135 w 8230669"/>
              <a:gd name="connsiteY30" fmla="*/ 3472276 h 3488301"/>
              <a:gd name="connsiteX31" fmla="*/ 5744923 w 8230669"/>
              <a:gd name="connsiteY31" fmla="*/ 3488301 h 3488301"/>
              <a:gd name="connsiteX32" fmla="*/ 4691437 w 8230669"/>
              <a:gd name="connsiteY32" fmla="*/ 3488301 h 3488301"/>
              <a:gd name="connsiteX33" fmla="*/ 4574414 w 8230669"/>
              <a:gd name="connsiteY33" fmla="*/ 3404218 h 3488301"/>
              <a:gd name="connsiteX34" fmla="*/ 4467214 w 8230669"/>
              <a:gd name="connsiteY34" fmla="*/ 3300762 h 3488301"/>
              <a:gd name="connsiteX35" fmla="*/ 2649318 w 8230669"/>
              <a:gd name="connsiteY35" fmla="*/ 1233351 h 3488301"/>
              <a:gd name="connsiteX36" fmla="*/ 5369925 w 8230669"/>
              <a:gd name="connsiteY36" fmla="*/ 1768026 h 3488301"/>
              <a:gd name="connsiteX37" fmla="*/ 6350164 w 8230669"/>
              <a:gd name="connsiteY37" fmla="*/ 2488946 h 3488301"/>
              <a:gd name="connsiteX38" fmla="*/ 7383870 w 8230669"/>
              <a:gd name="connsiteY38" fmla="*/ 3129666 h 3488301"/>
              <a:gd name="connsiteX39" fmla="*/ 6879493 w 8230669"/>
              <a:gd name="connsiteY39" fmla="*/ 1978331 h 3488301"/>
              <a:gd name="connsiteX40" fmla="*/ 7880228 w 8230669"/>
              <a:gd name="connsiteY40" fmla="*/ 1774264 h 3488301"/>
              <a:gd name="connsiteX41" fmla="*/ 6696811 w 8230669"/>
              <a:gd name="connsiteY41" fmla="*/ 892049 h 3488301"/>
              <a:gd name="connsiteX42" fmla="*/ 7880228 w 8230669"/>
              <a:gd name="connsiteY42" fmla="*/ 9834 h 3488301"/>
              <a:gd name="connsiteX43" fmla="*/ 3132451 w 8230669"/>
              <a:gd name="connsiteY43" fmla="*/ 0 h 3488301"/>
              <a:gd name="connsiteX44" fmla="*/ 3592147 w 8230669"/>
              <a:gd name="connsiteY44" fmla="*/ 0 h 3488301"/>
              <a:gd name="connsiteX45" fmla="*/ 3578762 w 8230669"/>
              <a:gd name="connsiteY45" fmla="*/ 15181 h 3488301"/>
              <a:gd name="connsiteX46" fmla="*/ 3657299 w 8230669"/>
              <a:gd name="connsiteY46" fmla="*/ 0 h 3488301"/>
              <a:gd name="connsiteX47" fmla="*/ 5415062 w 8230669"/>
              <a:gd name="connsiteY47" fmla="*/ 0 h 3488301"/>
              <a:gd name="connsiteX48" fmla="*/ 5370816 w 8230669"/>
              <a:gd name="connsiteY48" fmla="*/ 12508 h 3488301"/>
              <a:gd name="connsiteX49" fmla="*/ 2650209 w 8230669"/>
              <a:gd name="connsiteY49" fmla="*/ 547183 h 3488301"/>
              <a:gd name="connsiteX50" fmla="*/ 3098007 w 8230669"/>
              <a:gd name="connsiteY50" fmla="*/ 39111 h 3488301"/>
              <a:gd name="connsiteX51" fmla="*/ 1987677 w 8230669"/>
              <a:gd name="connsiteY51" fmla="*/ 0 h 3488301"/>
              <a:gd name="connsiteX52" fmla="*/ 2125999 w 8230669"/>
              <a:gd name="connsiteY52" fmla="*/ 0 h 3488301"/>
              <a:gd name="connsiteX53" fmla="*/ 2105383 w 8230669"/>
              <a:gd name="connsiteY53" fmla="*/ 59974 h 3488301"/>
              <a:gd name="connsiteX54" fmla="*/ 2056719 w 8230669"/>
              <a:gd name="connsiteY54" fmla="*/ 201426 h 3488301"/>
              <a:gd name="connsiteX55" fmla="*/ 0 w 8230669"/>
              <a:gd name="connsiteY55" fmla="*/ 0 h 3488301"/>
              <a:gd name="connsiteX56" fmla="*/ 456828 w 8230669"/>
              <a:gd name="connsiteY56" fmla="*/ 0 h 3488301"/>
              <a:gd name="connsiteX57" fmla="*/ 534676 w 8230669"/>
              <a:gd name="connsiteY57" fmla="*/ 15181 h 3488301"/>
              <a:gd name="connsiteX58" fmla="*/ 521359 w 8230669"/>
              <a:gd name="connsiteY58" fmla="*/ 0 h 3488301"/>
              <a:gd name="connsiteX59" fmla="*/ 982995 w 8230669"/>
              <a:gd name="connsiteY59" fmla="*/ 0 h 3488301"/>
              <a:gd name="connsiteX60" fmla="*/ 1041012 w 8230669"/>
              <a:gd name="connsiteY60" fmla="*/ 65884 h 3488301"/>
              <a:gd name="connsiteX61" fmla="*/ 1465011 w 8230669"/>
              <a:gd name="connsiteY61" fmla="*/ 547183 h 3488301"/>
              <a:gd name="connsiteX62" fmla="*/ 0 w 8230669"/>
              <a:gd name="connsiteY62" fmla="*/ 262022 h 3488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230669" h="3488301">
                <a:moveTo>
                  <a:pt x="2054937" y="1585345"/>
                </a:moveTo>
                <a:cubicBezTo>
                  <a:pt x="2077661" y="1646833"/>
                  <a:pt x="2421691" y="2645172"/>
                  <a:pt x="2701686" y="3464938"/>
                </a:cubicBezTo>
                <a:lnTo>
                  <a:pt x="2709658" y="3488301"/>
                </a:lnTo>
                <a:lnTo>
                  <a:pt x="2347235" y="3488301"/>
                </a:lnTo>
                <a:lnTo>
                  <a:pt x="2336199" y="3455929"/>
                </a:lnTo>
                <a:cubicBezTo>
                  <a:pt x="2234053" y="3156622"/>
                  <a:pt x="2132910" y="2861437"/>
                  <a:pt x="2058502" y="2644893"/>
                </a:cubicBezTo>
                <a:cubicBezTo>
                  <a:pt x="2014168" y="2773884"/>
                  <a:pt x="1966214" y="2913456"/>
                  <a:pt x="1916896" y="3057220"/>
                </a:cubicBezTo>
                <a:lnTo>
                  <a:pt x="1769291" y="3488301"/>
                </a:lnTo>
                <a:lnTo>
                  <a:pt x="1404039" y="3488301"/>
                </a:lnTo>
                <a:lnTo>
                  <a:pt x="1411947" y="3465314"/>
                </a:lnTo>
                <a:cubicBezTo>
                  <a:pt x="1693696" y="2645673"/>
                  <a:pt x="2034218" y="1646833"/>
                  <a:pt x="2054937" y="1585345"/>
                </a:cubicBezTo>
                <a:close/>
                <a:moveTo>
                  <a:pt x="1465011" y="1238697"/>
                </a:moveTo>
                <a:cubicBezTo>
                  <a:pt x="1418672" y="1291273"/>
                  <a:pt x="591708" y="2229629"/>
                  <a:pt x="0" y="2903320"/>
                </a:cubicBezTo>
                <a:lnTo>
                  <a:pt x="0" y="2380229"/>
                </a:lnTo>
                <a:lnTo>
                  <a:pt x="534676" y="1772481"/>
                </a:lnTo>
                <a:lnTo>
                  <a:pt x="0" y="1877634"/>
                </a:lnTo>
                <a:lnTo>
                  <a:pt x="0" y="1521183"/>
                </a:lnTo>
                <a:close/>
                <a:moveTo>
                  <a:pt x="7869235" y="0"/>
                </a:moveTo>
                <a:lnTo>
                  <a:pt x="8225605" y="0"/>
                </a:lnTo>
                <a:lnTo>
                  <a:pt x="8223514" y="34669"/>
                </a:lnTo>
                <a:cubicBezTo>
                  <a:pt x="8183809" y="308807"/>
                  <a:pt x="7976691" y="622261"/>
                  <a:pt x="7547836" y="892049"/>
                </a:cubicBezTo>
                <a:cubicBezTo>
                  <a:pt x="8037066" y="1200379"/>
                  <a:pt x="8238460" y="1565741"/>
                  <a:pt x="8230440" y="1864267"/>
                </a:cubicBezTo>
                <a:cubicBezTo>
                  <a:pt x="8103009" y="2139626"/>
                  <a:pt x="7772400" y="2254581"/>
                  <a:pt x="7510410" y="2293789"/>
                </a:cubicBezTo>
                <a:cubicBezTo>
                  <a:pt x="7766943" y="2896525"/>
                  <a:pt x="7740334" y="3167678"/>
                  <a:pt x="7733852" y="3421263"/>
                </a:cubicBezTo>
                <a:lnTo>
                  <a:pt x="7733443" y="3488301"/>
                </a:lnTo>
                <a:lnTo>
                  <a:pt x="7378213" y="3488301"/>
                </a:lnTo>
                <a:lnTo>
                  <a:pt x="7241634" y="3463295"/>
                </a:lnTo>
                <a:cubicBezTo>
                  <a:pt x="6240332" y="3229180"/>
                  <a:pt x="6175614" y="2484046"/>
                  <a:pt x="5303090" y="2106654"/>
                </a:cubicBezTo>
                <a:cubicBezTo>
                  <a:pt x="4826338" y="2010411"/>
                  <a:pt x="4035909" y="1857138"/>
                  <a:pt x="3578762" y="1768026"/>
                </a:cubicBezTo>
                <a:cubicBezTo>
                  <a:pt x="3882636" y="2112891"/>
                  <a:pt x="4405727" y="2708163"/>
                  <a:pt x="4721185" y="3081546"/>
                </a:cubicBezTo>
                <a:cubicBezTo>
                  <a:pt x="5058700" y="3325825"/>
                  <a:pt x="5373407" y="3403061"/>
                  <a:pt x="5678135" y="3472276"/>
                </a:cubicBezTo>
                <a:lnTo>
                  <a:pt x="5744923" y="3488301"/>
                </a:lnTo>
                <a:lnTo>
                  <a:pt x="4691437" y="3488301"/>
                </a:lnTo>
                <a:lnTo>
                  <a:pt x="4574414" y="3404218"/>
                </a:lnTo>
                <a:cubicBezTo>
                  <a:pt x="4536472" y="3372762"/>
                  <a:pt x="4500632" y="3338412"/>
                  <a:pt x="4467214" y="3300762"/>
                </a:cubicBezTo>
                <a:cubicBezTo>
                  <a:pt x="3936103" y="2692124"/>
                  <a:pt x="2706350" y="1297511"/>
                  <a:pt x="2649318" y="1233351"/>
                </a:cubicBezTo>
                <a:cubicBezTo>
                  <a:pt x="2735758" y="1253846"/>
                  <a:pt x="4577715" y="1610296"/>
                  <a:pt x="5369925" y="1768026"/>
                </a:cubicBezTo>
                <a:cubicBezTo>
                  <a:pt x="5770932" y="1848227"/>
                  <a:pt x="6065003" y="2174379"/>
                  <a:pt x="6350164" y="2488946"/>
                </a:cubicBezTo>
                <a:cubicBezTo>
                  <a:pt x="6610215" y="2815695"/>
                  <a:pt x="6975543" y="3042136"/>
                  <a:pt x="7383870" y="3129666"/>
                </a:cubicBezTo>
                <a:cubicBezTo>
                  <a:pt x="7389216" y="2828465"/>
                  <a:pt x="7155742" y="2269729"/>
                  <a:pt x="6879493" y="1978331"/>
                </a:cubicBezTo>
                <a:cubicBezTo>
                  <a:pt x="7177128" y="1988134"/>
                  <a:pt x="7741212" y="1963182"/>
                  <a:pt x="7880228" y="1774264"/>
                </a:cubicBezTo>
                <a:cubicBezTo>
                  <a:pt x="7868643" y="1460587"/>
                  <a:pt x="7184258" y="1028391"/>
                  <a:pt x="6696811" y="892049"/>
                </a:cubicBezTo>
                <a:cubicBezTo>
                  <a:pt x="7184258" y="754815"/>
                  <a:pt x="7867752" y="324402"/>
                  <a:pt x="7880228" y="9834"/>
                </a:cubicBezTo>
                <a:close/>
                <a:moveTo>
                  <a:pt x="3132451" y="0"/>
                </a:moveTo>
                <a:lnTo>
                  <a:pt x="3592147" y="0"/>
                </a:lnTo>
                <a:lnTo>
                  <a:pt x="3578762" y="15181"/>
                </a:lnTo>
                <a:lnTo>
                  <a:pt x="3657299" y="0"/>
                </a:lnTo>
                <a:lnTo>
                  <a:pt x="5415062" y="0"/>
                </a:lnTo>
                <a:lnTo>
                  <a:pt x="5370816" y="12508"/>
                </a:lnTo>
                <a:cubicBezTo>
                  <a:pt x="4578605" y="173801"/>
                  <a:pt x="2739321" y="530251"/>
                  <a:pt x="2650209" y="547183"/>
                </a:cubicBezTo>
                <a:cubicBezTo>
                  <a:pt x="2671262" y="523401"/>
                  <a:pt x="2851795" y="318648"/>
                  <a:pt x="3098007" y="39111"/>
                </a:cubicBezTo>
                <a:close/>
                <a:moveTo>
                  <a:pt x="1987677" y="0"/>
                </a:moveTo>
                <a:lnTo>
                  <a:pt x="2125999" y="0"/>
                </a:lnTo>
                <a:lnTo>
                  <a:pt x="2105383" y="59974"/>
                </a:lnTo>
                <a:cubicBezTo>
                  <a:pt x="2078217" y="138991"/>
                  <a:pt x="2060952" y="189173"/>
                  <a:pt x="2056719" y="201426"/>
                </a:cubicBezTo>
                <a:close/>
                <a:moveTo>
                  <a:pt x="0" y="0"/>
                </a:moveTo>
                <a:lnTo>
                  <a:pt x="456828" y="0"/>
                </a:lnTo>
                <a:lnTo>
                  <a:pt x="534676" y="15181"/>
                </a:lnTo>
                <a:lnTo>
                  <a:pt x="521359" y="0"/>
                </a:lnTo>
                <a:lnTo>
                  <a:pt x="982995" y="0"/>
                </a:lnTo>
                <a:lnTo>
                  <a:pt x="1041012" y="65884"/>
                </a:lnTo>
                <a:cubicBezTo>
                  <a:pt x="1275048" y="331635"/>
                  <a:pt x="1444738" y="524181"/>
                  <a:pt x="1465011" y="547183"/>
                </a:cubicBezTo>
                <a:lnTo>
                  <a:pt x="0" y="262022"/>
                </a:lnTo>
                <a:close/>
              </a:path>
            </a:pathLst>
          </a:custGeom>
          <a:solidFill>
            <a:srgbClr val="FFFFFF">
              <a:alpha val="6000"/>
            </a:srgbClr>
          </a:solidFill>
          <a:ln w="69470" cap="flat">
            <a:noFill/>
            <a:prstDash val="solid"/>
            <a:miter/>
          </a:ln>
        </p:spPr>
        <p:txBody>
          <a:bodyPr wrap="square" rtlCol="0" anchor="ctr">
            <a:noAutofit/>
          </a:bodyPr>
          <a:lstStyle/>
          <a:p>
            <a:endParaRPr lang="sv-SE" sz="1350" dirty="0"/>
          </a:p>
        </p:txBody>
      </p:sp>
    </p:spTree>
    <p:extLst>
      <p:ext uri="{BB962C8B-B14F-4D97-AF65-F5344CB8AC3E}">
        <p14:creationId xmlns:p14="http://schemas.microsoft.com/office/powerpoint/2010/main" val="9687128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bild med blå bakgrund">
    <p:spTree>
      <p:nvGrpSpPr>
        <p:cNvPr id="1" name=""/>
        <p:cNvGrpSpPr/>
        <p:nvPr/>
      </p:nvGrpSpPr>
      <p:grpSpPr>
        <a:xfrm>
          <a:off x="0" y="0"/>
          <a:ext cx="0" cy="0"/>
          <a:chOff x="0" y="0"/>
          <a:chExt cx="0" cy="0"/>
        </a:xfrm>
      </p:grpSpPr>
      <p:sp>
        <p:nvSpPr>
          <p:cNvPr id="2" name="Rektangel 1"/>
          <p:cNvSpPr/>
          <p:nvPr userDrawn="1"/>
        </p:nvSpPr>
        <p:spPr>
          <a:xfrm>
            <a:off x="0" y="0"/>
            <a:ext cx="9144000" cy="5143500"/>
          </a:xfrm>
          <a:prstGeom prst="rect">
            <a:avLst/>
          </a:prstGeom>
          <a:solidFill>
            <a:srgbClr val="0066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Rubrik 1"/>
          <p:cNvSpPr>
            <a:spLocks noGrp="1"/>
          </p:cNvSpPr>
          <p:nvPr>
            <p:ph type="ctrTitle" hasCustomPrompt="1"/>
          </p:nvPr>
        </p:nvSpPr>
        <p:spPr>
          <a:xfrm>
            <a:off x="685800" y="1597820"/>
            <a:ext cx="7772400" cy="1102519"/>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9412801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vsnittsdelare med bild">
    <p:bg>
      <p:bgPr>
        <a:solidFill>
          <a:schemeClr val="bg1"/>
        </a:solidFill>
        <a:effectLst/>
      </p:bgPr>
    </p:bg>
    <p:spTree>
      <p:nvGrpSpPr>
        <p:cNvPr id="1" name=""/>
        <p:cNvGrpSpPr/>
        <p:nvPr/>
      </p:nvGrpSpPr>
      <p:grpSpPr>
        <a:xfrm>
          <a:off x="0" y="0"/>
          <a:ext cx="0" cy="0"/>
          <a:chOff x="0" y="0"/>
          <a:chExt cx="0" cy="0"/>
        </a:xfrm>
      </p:grpSpPr>
      <p:sp>
        <p:nvSpPr>
          <p:cNvPr id="10" name="Platshållare för bild 9">
            <a:extLst>
              <a:ext uri="{FF2B5EF4-FFF2-40B4-BE49-F238E27FC236}">
                <a16:creationId xmlns:a16="http://schemas.microsoft.com/office/drawing/2014/main" id="{CDF3493E-518E-45EF-A49B-F82F3FA4C1DD}"/>
              </a:ext>
              <a:ext uri="{C183D7F6-B498-43B3-948B-1728B52AA6E4}">
                <adec:decorative xmlns:adec="http://schemas.microsoft.com/office/drawing/2017/decorative" val="1"/>
              </a:ext>
            </a:extLst>
          </p:cNvPr>
          <p:cNvSpPr>
            <a:spLocks noGrp="1"/>
          </p:cNvSpPr>
          <p:nvPr>
            <p:ph type="pic" sz="quarter" idx="11" hasCustomPrompt="1"/>
          </p:nvPr>
        </p:nvSpPr>
        <p:spPr>
          <a:xfrm>
            <a:off x="135000" y="1923700"/>
            <a:ext cx="8874900" cy="2616226"/>
          </a:xfrm>
          <a:solidFill>
            <a:schemeClr val="accent2"/>
          </a:solidFill>
        </p:spPr>
        <p:txBody>
          <a:bodyPr anchor="ctr" anchorCtr="0"/>
          <a:lstStyle>
            <a:lvl1pPr marL="0" indent="0" algn="ctr">
              <a:buNone/>
              <a:defRPr/>
            </a:lvl1pPr>
          </a:lstStyle>
          <a:p>
            <a:r>
              <a:rPr lang="sv-SE" dirty="0"/>
              <a:t>Markera bildplatshållaren och infoga önskad bild</a:t>
            </a:r>
          </a:p>
        </p:txBody>
      </p:sp>
      <p:sp>
        <p:nvSpPr>
          <p:cNvPr id="2" name="Rubrik 1">
            <a:extLst>
              <a:ext uri="{FF2B5EF4-FFF2-40B4-BE49-F238E27FC236}">
                <a16:creationId xmlns:a16="http://schemas.microsoft.com/office/drawing/2014/main" id="{238D417C-D98B-42D1-8332-541A31DFF270}"/>
              </a:ext>
            </a:extLst>
          </p:cNvPr>
          <p:cNvSpPr>
            <a:spLocks noGrp="1"/>
          </p:cNvSpPr>
          <p:nvPr>
            <p:ph type="ctrTitle" hasCustomPrompt="1"/>
          </p:nvPr>
        </p:nvSpPr>
        <p:spPr>
          <a:xfrm>
            <a:off x="1290638" y="326308"/>
            <a:ext cx="6562725" cy="881786"/>
          </a:xfrm>
        </p:spPr>
        <p:txBody>
          <a:bodyPr anchor="b"/>
          <a:lstStyle>
            <a:lvl1pPr algn="ctr">
              <a:defRPr sz="3000">
                <a:solidFill>
                  <a:schemeClr val="accent6"/>
                </a:solidFill>
              </a:defRPr>
            </a:lvl1pPr>
          </a:lstStyle>
          <a:p>
            <a:r>
              <a:rPr lang="sv-SE" dirty="0"/>
              <a:t>Klicka och skriv titel</a:t>
            </a:r>
          </a:p>
        </p:txBody>
      </p:sp>
      <p:sp>
        <p:nvSpPr>
          <p:cNvPr id="3" name="Underrubrik 2">
            <a:extLst>
              <a:ext uri="{FF2B5EF4-FFF2-40B4-BE49-F238E27FC236}">
                <a16:creationId xmlns:a16="http://schemas.microsoft.com/office/drawing/2014/main" id="{D716B026-314C-4514-80D8-702DADFD4090}"/>
              </a:ext>
            </a:extLst>
          </p:cNvPr>
          <p:cNvSpPr>
            <a:spLocks noGrp="1"/>
          </p:cNvSpPr>
          <p:nvPr>
            <p:ph type="subTitle" idx="1" hasCustomPrompt="1"/>
          </p:nvPr>
        </p:nvSpPr>
        <p:spPr>
          <a:xfrm>
            <a:off x="1290638" y="1244060"/>
            <a:ext cx="6562725" cy="603176"/>
          </a:xfrm>
        </p:spPr>
        <p:txBody>
          <a:bodyPr/>
          <a:lstStyle>
            <a:lvl1pPr marL="0" indent="0" algn="ctr">
              <a:lnSpc>
                <a:spcPct val="100000"/>
              </a:lnSpc>
              <a:spcBef>
                <a:spcPts val="0"/>
              </a:spcBef>
              <a:buNone/>
              <a:defRPr sz="1800">
                <a:solidFill>
                  <a:schemeClr val="accent6"/>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sv-SE" dirty="0"/>
              <a:t>Klicka och skriv underrubrik</a:t>
            </a:r>
          </a:p>
        </p:txBody>
      </p:sp>
      <p:sp>
        <p:nvSpPr>
          <p:cNvPr id="6" name="Platshållare för bildnummer 5">
            <a:extLst>
              <a:ext uri="{FF2B5EF4-FFF2-40B4-BE49-F238E27FC236}">
                <a16:creationId xmlns:a16="http://schemas.microsoft.com/office/drawing/2014/main" id="{22273EDF-9F62-4D63-A459-24ADD9922D77}"/>
              </a:ext>
            </a:extLst>
          </p:cNvPr>
          <p:cNvSpPr>
            <a:spLocks noGrp="1"/>
          </p:cNvSpPr>
          <p:nvPr>
            <p:ph type="sldNum" sz="quarter" idx="12"/>
          </p:nvPr>
        </p:nvSpPr>
        <p:spPr/>
        <p:txBody>
          <a:bodyPr/>
          <a:lstStyle/>
          <a:p>
            <a:fld id="{5204B58B-0420-4827-A2A8-7A3D043AFDDE}" type="slidenum">
              <a:rPr lang="sv-SE" smtClean="0"/>
              <a:pPr/>
              <a:t>‹#›</a:t>
            </a:fld>
            <a:endParaRPr lang="sv-SE" dirty="0"/>
          </a:p>
        </p:txBody>
      </p:sp>
    </p:spTree>
    <p:extLst>
      <p:ext uri="{BB962C8B-B14F-4D97-AF65-F5344CB8AC3E}">
        <p14:creationId xmlns:p14="http://schemas.microsoft.com/office/powerpoint/2010/main" val="33183165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7E7E34-D963-409A-B37E-74A781406387}"/>
              </a:ext>
            </a:extLst>
          </p:cNvPr>
          <p:cNvSpPr>
            <a:spLocks noGrp="1"/>
          </p:cNvSpPr>
          <p:nvPr>
            <p:ph type="title"/>
          </p:nvPr>
        </p:nvSpPr>
        <p:spPr>
          <a:xfrm>
            <a:off x="405000" y="276225"/>
            <a:ext cx="7442999" cy="712408"/>
          </a:xfrm>
        </p:spPr>
        <p:txBody>
          <a:bodyPr/>
          <a:lstStyle/>
          <a:p>
            <a:r>
              <a:rPr lang="sv-SE"/>
              <a:t>Klicka här för att ändra mall för rubrikformat</a:t>
            </a:r>
            <a:endParaRPr lang="sv-SE" dirty="0"/>
          </a:p>
        </p:txBody>
      </p:sp>
      <p:sp>
        <p:nvSpPr>
          <p:cNvPr id="5" name="Platshållare för bildnummer 4">
            <a:extLst>
              <a:ext uri="{FF2B5EF4-FFF2-40B4-BE49-F238E27FC236}">
                <a16:creationId xmlns:a16="http://schemas.microsoft.com/office/drawing/2014/main" id="{11746945-EC0D-4274-B554-168CE39A566D}"/>
              </a:ext>
            </a:extLst>
          </p:cNvPr>
          <p:cNvSpPr>
            <a:spLocks noGrp="1"/>
          </p:cNvSpPr>
          <p:nvPr>
            <p:ph type="sldNum" sz="quarter" idx="12"/>
          </p:nvPr>
        </p:nvSpPr>
        <p:spPr/>
        <p:txBody>
          <a:bodyPr/>
          <a:lstStyle/>
          <a:p>
            <a:fld id="{5204B58B-0420-4827-A2A8-7A3D043AFDDE}" type="slidenum">
              <a:rPr lang="sv-SE" smtClean="0"/>
              <a:t>‹#›</a:t>
            </a:fld>
            <a:endParaRPr lang="sv-SE" dirty="0"/>
          </a:p>
        </p:txBody>
      </p:sp>
    </p:spTree>
    <p:extLst>
      <p:ext uri="{BB962C8B-B14F-4D97-AF65-F5344CB8AC3E}">
        <p14:creationId xmlns:p14="http://schemas.microsoft.com/office/powerpoint/2010/main" val="15395747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4" name="Platshållare för bildnummer 3">
            <a:extLst>
              <a:ext uri="{FF2B5EF4-FFF2-40B4-BE49-F238E27FC236}">
                <a16:creationId xmlns:a16="http://schemas.microsoft.com/office/drawing/2014/main" id="{768120F1-E095-4F41-A281-F6F2F4715BE4}"/>
              </a:ext>
            </a:extLst>
          </p:cNvPr>
          <p:cNvSpPr>
            <a:spLocks noGrp="1"/>
          </p:cNvSpPr>
          <p:nvPr>
            <p:ph type="sldNum" sz="quarter" idx="12"/>
          </p:nvPr>
        </p:nvSpPr>
        <p:spPr/>
        <p:txBody>
          <a:bodyPr/>
          <a:lstStyle/>
          <a:p>
            <a:fld id="{5204B58B-0420-4827-A2A8-7A3D043AFDDE}" type="slidenum">
              <a:rPr lang="sv-SE" smtClean="0"/>
              <a:t>‹#›</a:t>
            </a:fld>
            <a:endParaRPr lang="sv-SE" dirty="0"/>
          </a:p>
        </p:txBody>
      </p:sp>
    </p:spTree>
    <p:extLst>
      <p:ext uri="{BB962C8B-B14F-4D97-AF65-F5344CB8AC3E}">
        <p14:creationId xmlns:p14="http://schemas.microsoft.com/office/powerpoint/2010/main" val="42467086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bild med röd bakgrund">
    <p:spTree>
      <p:nvGrpSpPr>
        <p:cNvPr id="1" name=""/>
        <p:cNvGrpSpPr/>
        <p:nvPr/>
      </p:nvGrpSpPr>
      <p:grpSpPr>
        <a:xfrm>
          <a:off x="0" y="0"/>
          <a:ext cx="0" cy="0"/>
          <a:chOff x="0" y="0"/>
          <a:chExt cx="0" cy="0"/>
        </a:xfrm>
      </p:grpSpPr>
      <p:sp>
        <p:nvSpPr>
          <p:cNvPr id="2" name="Rektangel 1"/>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Rubrik 1"/>
          <p:cNvSpPr>
            <a:spLocks noGrp="1"/>
          </p:cNvSpPr>
          <p:nvPr>
            <p:ph type="ctrTitle" hasCustomPrompt="1"/>
          </p:nvPr>
        </p:nvSpPr>
        <p:spPr>
          <a:xfrm>
            <a:off x="685800" y="1597820"/>
            <a:ext cx="7772400" cy="1102519"/>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2706504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lsidebild">
    <p:spTree>
      <p:nvGrpSpPr>
        <p:cNvPr id="1" name=""/>
        <p:cNvGrpSpPr/>
        <p:nvPr/>
      </p:nvGrpSpPr>
      <p:grpSpPr>
        <a:xfrm>
          <a:off x="0" y="0"/>
          <a:ext cx="0" cy="0"/>
          <a:chOff x="0" y="0"/>
          <a:chExt cx="0" cy="0"/>
        </a:xfrm>
      </p:grpSpPr>
      <p:sp>
        <p:nvSpPr>
          <p:cNvPr id="5" name="Platshållare för innehåll 2"/>
          <p:cNvSpPr>
            <a:spLocks noGrp="1"/>
          </p:cNvSpPr>
          <p:nvPr>
            <p:ph idx="1"/>
          </p:nvPr>
        </p:nvSpPr>
        <p:spPr>
          <a:xfrm>
            <a:off x="0" y="2574"/>
            <a:ext cx="9144000" cy="5143500"/>
          </a:xfrm>
        </p:spPr>
        <p:txBody>
          <a:bodyPr/>
          <a:lstStyle>
            <a:lvl1pPr marL="0" indent="0">
              <a:buFontTx/>
              <a:buNone/>
              <a:defRPr baseline="0"/>
            </a:lvl1pPr>
          </a:lstStyle>
          <a:p>
            <a:pPr lvl="0"/>
            <a:endParaRPr lang="sv-SE" dirty="0"/>
          </a:p>
        </p:txBody>
      </p:sp>
    </p:spTree>
    <p:extLst>
      <p:ext uri="{BB962C8B-B14F-4D97-AF65-F5344CB8AC3E}">
        <p14:creationId xmlns:p14="http://schemas.microsoft.com/office/powerpoint/2010/main" val="40783700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sv-SE" dirty="0"/>
              <a:t>Klicka här för att fylla i rubrik</a:t>
            </a:r>
          </a:p>
        </p:txBody>
      </p:sp>
      <p:sp>
        <p:nvSpPr>
          <p:cNvPr id="3" name="Platshållare för innehåll 2"/>
          <p:cNvSpPr>
            <a:spLocks noGrp="1"/>
          </p:cNvSpPr>
          <p:nvPr>
            <p:ph idx="1" hasCustomPrompt="1"/>
          </p:nvPr>
        </p:nvSpPr>
        <p:spPr>
          <a:xfrm>
            <a:off x="457200" y="1707655"/>
            <a:ext cx="8229600" cy="2808311"/>
          </a:xfrm>
        </p:spPr>
        <p:txBody>
          <a:bodyPr/>
          <a:lstStyle>
            <a:lvl1pPr marL="0" indent="0">
              <a:buFontTx/>
              <a:buNone/>
              <a:defRPr/>
            </a:lvl1pPr>
          </a:lstStyle>
          <a:p>
            <a:pPr lvl="0"/>
            <a:r>
              <a:rPr lang="sv-SE" dirty="0"/>
              <a:t>Klicka här för att ändra texten</a:t>
            </a:r>
          </a:p>
        </p:txBody>
      </p:sp>
    </p:spTree>
    <p:extLst>
      <p:ext uri="{BB962C8B-B14F-4D97-AF65-F5344CB8AC3E}">
        <p14:creationId xmlns:p14="http://schemas.microsoft.com/office/powerpoint/2010/main" val="20637314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457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
        <p:nvSpPr>
          <p:cNvPr id="4" name="Platshållare för innehåll 3"/>
          <p:cNvSpPr>
            <a:spLocks noGrp="1"/>
          </p:cNvSpPr>
          <p:nvPr>
            <p:ph sz="half" idx="2" hasCustomPrompt="1"/>
          </p:nvPr>
        </p:nvSpPr>
        <p:spPr>
          <a:xfrm>
            <a:off x="4648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Tree>
    <p:extLst>
      <p:ext uri="{BB962C8B-B14F-4D97-AF65-F5344CB8AC3E}">
        <p14:creationId xmlns:p14="http://schemas.microsoft.com/office/powerpoint/2010/main" val="158002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vå innehållsdelar 2">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467544" y="771550"/>
            <a:ext cx="4032448" cy="857250"/>
          </a:xfrm>
        </p:spPr>
        <p:txBody>
          <a:bodyPr/>
          <a:lstStyle>
            <a:lvl1pPr>
              <a:defRPr/>
            </a:lvl1pPr>
          </a:lstStyle>
          <a:p>
            <a:r>
              <a:rPr lang="sv-SE" dirty="0"/>
              <a:t>Klicka här för att ändra rubrik</a:t>
            </a:r>
          </a:p>
        </p:txBody>
      </p:sp>
      <p:sp>
        <p:nvSpPr>
          <p:cNvPr id="3" name="Platshållare för innehåll 2"/>
          <p:cNvSpPr>
            <a:spLocks noGrp="1"/>
          </p:cNvSpPr>
          <p:nvPr>
            <p:ph sz="half" idx="1" hasCustomPrompt="1"/>
          </p:nvPr>
        </p:nvSpPr>
        <p:spPr>
          <a:xfrm>
            <a:off x="457200" y="1707653"/>
            <a:ext cx="4038600" cy="27363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
        <p:nvSpPr>
          <p:cNvPr id="4" name="Platshållare för innehåll 3"/>
          <p:cNvSpPr>
            <a:spLocks noGrp="1"/>
          </p:cNvSpPr>
          <p:nvPr>
            <p:ph sz="half" idx="2" hasCustomPrompt="1"/>
          </p:nvPr>
        </p:nvSpPr>
        <p:spPr>
          <a:xfrm>
            <a:off x="4648200" y="411511"/>
            <a:ext cx="4038600" cy="403244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texten</a:t>
            </a:r>
          </a:p>
        </p:txBody>
      </p:sp>
    </p:spTree>
    <p:extLst>
      <p:ext uri="{BB962C8B-B14F-4D97-AF65-F5344CB8AC3E}">
        <p14:creationId xmlns:p14="http://schemas.microsoft.com/office/powerpoint/2010/main" val="1216774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1_Rubrikbild">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7F19F6FA-C315-406B-A333-7795FFDFF6EF}"/>
              </a:ext>
            </a:extLst>
          </p:cNvPr>
          <p:cNvSpPr/>
          <p:nvPr userDrawn="1">
            <p:custDataLst>
              <p:tags r:id="rId1"/>
            </p:custDataLst>
          </p:nvPr>
        </p:nvSpPr>
        <p:spPr>
          <a:xfrm>
            <a:off x="0" y="0"/>
            <a:ext cx="9525" cy="9525"/>
          </a:xfrm>
          <a:prstGeom prst="octagon">
            <a:avLst/>
          </a:prstGeom>
          <a:noFill/>
          <a:ln w="12700" cap="flat" cmpd="sng" algn="ctr">
            <a:noFill/>
            <a:prstDash val="solid"/>
            <a:miter lim="800000"/>
          </a:ln>
          <a:effectLst/>
          <a:extLst>
            <a:ext uri="{909E8E84-426E-40dd-AFC4-6F175D3DCCD1}">
              <a14:hiddenFill xmlns=""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a:p>
        </p:txBody>
      </p:sp>
      <p:graphicFrame>
        <p:nvGraphicFramePr>
          <p:cNvPr id="3" name="Object 2" hidden="1">
            <a:extLst>
              <a:ext uri="{FF2B5EF4-FFF2-40B4-BE49-F238E27FC236}">
                <a16:creationId xmlns:a16="http://schemas.microsoft.com/office/drawing/2014/main" id="{663CC2EB-9A0C-4B5D-82FB-32351F22A612}"/>
              </a:ext>
            </a:extLst>
          </p:cNvPr>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663CC2EB-9A0C-4B5D-82FB-32351F22A612}"/>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CA2FBE6-CCDF-4281-881A-D421423FBB5C}"/>
              </a:ext>
            </a:extLst>
          </p:cNvPr>
          <p:cNvSpPr/>
          <p:nvPr userDrawn="1">
            <p:custDataLst>
              <p:tags r:id="rId3"/>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2700" b="1" i="0" baseline="0" dirty="0">
              <a:latin typeface="Calibri" panose="020F0502020204030204" pitchFamily="34" charset="0"/>
              <a:ea typeface="+mj-ea"/>
              <a:cs typeface="+mj-cs"/>
              <a:sym typeface="Calibri" panose="020F0502020204030204" pitchFamily="34" charset="0"/>
            </a:endParaRPr>
          </a:p>
        </p:txBody>
      </p:sp>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741557" y="462631"/>
            <a:ext cx="6858000" cy="457345"/>
          </a:xfrm>
        </p:spPr>
        <p:txBody>
          <a:bodyPr anchor="b">
            <a:normAutofit/>
          </a:bodyPr>
          <a:lstStyle>
            <a:lvl1pPr algn="l">
              <a:defRPr sz="2700"/>
            </a:lvl1pPr>
          </a:lstStyle>
          <a:p>
            <a:r>
              <a:rPr lang="sv-SE" dirty="0" err="1"/>
              <a:t>Click</a:t>
            </a:r>
            <a:r>
              <a:rPr lang="sv-SE" dirty="0"/>
              <a:t> to </a:t>
            </a:r>
            <a:r>
              <a:rPr lang="sv-SE" dirty="0" err="1"/>
              <a:t>edit</a:t>
            </a:r>
            <a:r>
              <a:rPr lang="sv-SE" dirty="0"/>
              <a:t> Master </a:t>
            </a:r>
            <a:r>
              <a:rPr lang="sv-SE" dirty="0" err="1"/>
              <a:t>title</a:t>
            </a:r>
            <a:r>
              <a:rPr lang="sv-SE" dirty="0"/>
              <a:t> style</a:t>
            </a:r>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741760" y="1066800"/>
            <a:ext cx="6858000" cy="3139679"/>
          </a:xfrm>
        </p:spPr>
        <p:txBody>
          <a:bodyPr/>
          <a:lstStyle/>
          <a:p>
            <a:pPr lvl="0"/>
            <a:r>
              <a:rPr lang="sv-SE" dirty="0" err="1"/>
              <a:t>Click</a:t>
            </a:r>
            <a:r>
              <a:rPr lang="sv-SE" dirty="0"/>
              <a:t> to </a:t>
            </a:r>
            <a:r>
              <a:rPr lang="sv-SE" dirty="0" err="1"/>
              <a:t>edit</a:t>
            </a:r>
            <a:r>
              <a:rPr lang="sv-SE" dirty="0"/>
              <a:t> Master text </a:t>
            </a:r>
            <a:r>
              <a:rPr lang="sv-SE" dirty="0" err="1"/>
              <a:t>styles</a:t>
            </a:r>
            <a:endParaRPr lang="sv-SE" dirty="0"/>
          </a:p>
          <a:p>
            <a:pPr lvl="1"/>
            <a:r>
              <a:rPr lang="sv-SE" dirty="0"/>
              <a:t>Second </a:t>
            </a:r>
            <a:r>
              <a:rPr lang="sv-SE" dirty="0" err="1"/>
              <a:t>level</a:t>
            </a:r>
            <a:endParaRPr lang="sv-SE" dirty="0"/>
          </a:p>
          <a:p>
            <a:pPr lvl="2"/>
            <a:r>
              <a:rPr lang="sv-SE" dirty="0" err="1"/>
              <a:t>Third</a:t>
            </a:r>
            <a:r>
              <a:rPr lang="sv-SE" dirty="0"/>
              <a:t> </a:t>
            </a:r>
            <a:r>
              <a:rPr lang="sv-SE" dirty="0" err="1"/>
              <a:t>level</a:t>
            </a:r>
            <a:endParaRPr lang="sv-SE" dirty="0"/>
          </a:p>
          <a:p>
            <a:pPr lvl="3"/>
            <a:r>
              <a:rPr lang="sv-SE" dirty="0" err="1"/>
              <a:t>Fourth</a:t>
            </a:r>
            <a:r>
              <a:rPr lang="sv-SE" dirty="0"/>
              <a:t> </a:t>
            </a:r>
            <a:r>
              <a:rPr lang="sv-SE" dirty="0" err="1"/>
              <a:t>level</a:t>
            </a:r>
            <a:endParaRPr lang="sv-SE" dirty="0"/>
          </a:p>
          <a:p>
            <a:pPr lvl="4"/>
            <a:r>
              <a:rPr lang="sv-SE" dirty="0" err="1"/>
              <a:t>Fifth</a:t>
            </a:r>
            <a:r>
              <a:rPr lang="sv-SE" dirty="0"/>
              <a:t> </a:t>
            </a:r>
            <a:r>
              <a:rPr lang="sv-SE" dirty="0" err="1"/>
              <a:t>level</a:t>
            </a:r>
            <a:endParaRPr lang="sv-SE" dirty="0"/>
          </a:p>
        </p:txBody>
      </p:sp>
    </p:spTree>
    <p:extLst>
      <p:ext uri="{BB962C8B-B14F-4D97-AF65-F5344CB8AC3E}">
        <p14:creationId xmlns:p14="http://schemas.microsoft.com/office/powerpoint/2010/main" val="10745253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image" Target="../media/image5.png"/><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tags" Target="../tags/tag4.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theme" Target="../theme/theme2.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image" Target="../media/image6.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67544" y="771550"/>
            <a:ext cx="8229600" cy="857250"/>
          </a:xfrm>
          <a:prstGeom prst="rect">
            <a:avLst/>
          </a:prstGeom>
        </p:spPr>
        <p:txBody>
          <a:bodyPr vert="horz" lIns="91440" tIns="45720" rIns="91440" bIns="45720" rtlCol="0" anchor="ctr">
            <a:normAutofit/>
          </a:bodyPr>
          <a:lstStyle/>
          <a:p>
            <a:r>
              <a:rPr lang="sv-SE" dirty="0"/>
              <a:t>Klicka här för att fylla i rubrik</a:t>
            </a:r>
          </a:p>
        </p:txBody>
      </p:sp>
      <p:sp>
        <p:nvSpPr>
          <p:cNvPr id="3" name="Platshållare för text 2"/>
          <p:cNvSpPr>
            <a:spLocks noGrp="1"/>
          </p:cNvSpPr>
          <p:nvPr>
            <p:ph type="body" idx="1"/>
          </p:nvPr>
        </p:nvSpPr>
        <p:spPr>
          <a:xfrm>
            <a:off x="457200" y="1707655"/>
            <a:ext cx="8229600" cy="2808311"/>
          </a:xfrm>
          <a:prstGeom prst="rect">
            <a:avLst/>
          </a:prstGeom>
        </p:spPr>
        <p:txBody>
          <a:bodyPr vert="horz" lIns="91440" tIns="45720" rIns="91440" bIns="45720" rtlCol="0">
            <a:normAutofit/>
          </a:body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a:t>Klicka här för att ändra texten</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sv-SE" dirty="0"/>
          </a:p>
        </p:txBody>
      </p:sp>
      <p:pic>
        <p:nvPicPr>
          <p:cNvPr id="1027" name="Bildobjekt 5"/>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5436096" y="4701841"/>
            <a:ext cx="1032452" cy="288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Bildobjekt 6" descr="Logotyp_Region_Kalmar_län_fär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6660232" y="4629825"/>
            <a:ext cx="776843" cy="36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Bildobjekt 7"/>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612764" y="4701841"/>
            <a:ext cx="1135700" cy="28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p:cNvSpPr>
            <a:spLocks noChangeArrowheads="1"/>
          </p:cNvSpPr>
          <p:nvPr userDrawn="1"/>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sv-SE"/>
          </a:p>
        </p:txBody>
      </p:sp>
      <p:sp>
        <p:nvSpPr>
          <p:cNvPr id="9" name="Rectangle 5"/>
          <p:cNvSpPr>
            <a:spLocks noChangeArrowheads="1"/>
          </p:cNvSpPr>
          <p:nvPr userDrawn="1"/>
        </p:nvSpPr>
        <p:spPr bwMode="auto">
          <a:xfrm>
            <a:off x="-180975" y="9620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sv-SE" altLang="sv-SE" sz="1000" b="0" i="0" u="none" strike="noStrike" cap="none" normalizeH="0" baseline="0">
                <a:ln>
                  <a:noFill/>
                </a:ln>
                <a:solidFill>
                  <a:srgbClr val="7F7F7F"/>
                </a:solidFill>
                <a:effectLst/>
                <a:latin typeface="Arial" pitchFamily="34" charset="0"/>
                <a:ea typeface="Times New Roman" pitchFamily="18" charset="0"/>
                <a:cs typeface="Arial" pitchFamily="34" charset="0"/>
              </a:rPr>
              <a:t>	</a:t>
            </a:r>
            <a:endParaRPr kumimoji="0" lang="sv-SE" altLang="sv-SE" sz="1800" b="0" i="0" u="none" strike="noStrike" cap="none" normalizeH="0" baseline="0">
              <a:ln>
                <a:noFill/>
              </a:ln>
              <a:solidFill>
                <a:schemeClr val="tx1"/>
              </a:solidFill>
              <a:effectLst/>
              <a:latin typeface="Arial" pitchFamily="34" charset="0"/>
              <a:cs typeface="Arial" pitchFamily="34" charset="0"/>
            </a:endParaRPr>
          </a:p>
        </p:txBody>
      </p:sp>
      <p:sp>
        <p:nvSpPr>
          <p:cNvPr id="10" name="Rectangle 6"/>
          <p:cNvSpPr>
            <a:spLocks noChangeArrowheads="1"/>
          </p:cNvSpPr>
          <p:nvPr userDrawn="1"/>
        </p:nvSpPr>
        <p:spPr bwMode="auto">
          <a:xfrm>
            <a:off x="-180975" y="15049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sv-SE" altLang="sv-SE" sz="1000" b="0" i="0" u="none" strike="noStrike" cap="none" normalizeH="0" baseline="0">
                <a:ln>
                  <a:noFill/>
                </a:ln>
                <a:solidFill>
                  <a:srgbClr val="7F7F7F"/>
                </a:solidFill>
                <a:effectLst/>
                <a:latin typeface="Arial" pitchFamily="34" charset="0"/>
                <a:ea typeface="Times New Roman" pitchFamily="18" charset="0"/>
                <a:cs typeface="Arial" pitchFamily="34" charset="0"/>
              </a:rPr>
              <a:t>	</a:t>
            </a:r>
            <a:endParaRPr kumimoji="0" lang="sv-SE" altLang="sv-SE" sz="1800" b="0" i="0" u="none" strike="noStrike" cap="none" normalizeH="0" baseline="0">
              <a:ln>
                <a:noFill/>
              </a:ln>
              <a:solidFill>
                <a:schemeClr val="tx1"/>
              </a:solidFill>
              <a:effectLst/>
              <a:latin typeface="Arial" pitchFamily="34" charset="0"/>
              <a:cs typeface="Arial" pitchFamily="34" charset="0"/>
            </a:endParaRPr>
          </a:p>
        </p:txBody>
      </p:sp>
      <p:sp>
        <p:nvSpPr>
          <p:cNvPr id="18" name="Rektangel 17"/>
          <p:cNvSpPr/>
          <p:nvPr userDrawn="1"/>
        </p:nvSpPr>
        <p:spPr>
          <a:xfrm>
            <a:off x="436921" y="4773801"/>
            <a:ext cx="1758815" cy="246221"/>
          </a:xfrm>
          <a:prstGeom prst="rect">
            <a:avLst/>
          </a:prstGeom>
        </p:spPr>
        <p:txBody>
          <a:bodyPr wrap="none">
            <a:spAutoFit/>
          </a:bodyPr>
          <a:lstStyle/>
          <a:p>
            <a:pPr algn="r"/>
            <a:r>
              <a:rPr lang="sv-SE" sz="1000" dirty="0">
                <a:solidFill>
                  <a:schemeClr val="tx1"/>
                </a:solidFill>
                <a:latin typeface="+mj-lt"/>
              </a:rPr>
              <a:t>Sydöstra sjukvårdsregionen</a:t>
            </a:r>
            <a:endParaRPr lang="sv-SE" sz="1100" dirty="0">
              <a:solidFill>
                <a:schemeClr val="tx1"/>
              </a:solidFill>
              <a:latin typeface="+mj-lt"/>
            </a:endParaRPr>
          </a:p>
        </p:txBody>
      </p:sp>
    </p:spTree>
    <p:extLst>
      <p:ext uri="{BB962C8B-B14F-4D97-AF65-F5344CB8AC3E}">
        <p14:creationId xmlns:p14="http://schemas.microsoft.com/office/powerpoint/2010/main" val="455508486"/>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8" r:id="rId4"/>
    <p:sldLayoutId id="2147483655" r:id="rId5"/>
    <p:sldLayoutId id="2147483650" r:id="rId6"/>
    <p:sldLayoutId id="2147483652" r:id="rId7"/>
    <p:sldLayoutId id="2147483659" r:id="rId8"/>
    <p:sldLayoutId id="2147483660" r:id="rId9"/>
  </p:sldLayoutIdLst>
  <p:txStyles>
    <p:title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914400" rtl="0" eaLnBrk="1" fontAlgn="auto" latinLnBrk="0" hangingPunct="1">
        <a:lnSpc>
          <a:spcPct val="100000"/>
        </a:lnSpc>
        <a:spcBef>
          <a:spcPct val="20000"/>
        </a:spcBef>
        <a:spcAft>
          <a:spcPts val="0"/>
        </a:spcAft>
        <a:buClrTx/>
        <a:buSzTx/>
        <a:buFontTx/>
        <a:buNone/>
        <a:tabLst/>
        <a:defRPr sz="28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D2E3394-C113-4849-BB1C-5C174A3CF38A}"/>
              </a:ext>
            </a:extLst>
          </p:cNvPr>
          <p:cNvSpPr>
            <a:spLocks noGrp="1"/>
          </p:cNvSpPr>
          <p:nvPr>
            <p:ph type="title"/>
          </p:nvPr>
        </p:nvSpPr>
        <p:spPr>
          <a:xfrm>
            <a:off x="405000" y="276225"/>
            <a:ext cx="7443900" cy="712408"/>
          </a:xfrm>
          <a:prstGeom prst="rect">
            <a:avLst/>
          </a:prstGeom>
        </p:spPr>
        <p:txBody>
          <a:bodyPr vert="horz" lIns="0" tIns="0" rIns="0" bIns="0" rtlCol="0" anchor="b" anchorCtr="0">
            <a:noAutofit/>
          </a:bodyPr>
          <a:lstStyle/>
          <a:p>
            <a:r>
              <a:rPr lang="sv-SE" dirty="0"/>
              <a:t>Klicka här för att ändra mall för rubrikformat</a:t>
            </a:r>
          </a:p>
        </p:txBody>
      </p:sp>
      <p:sp>
        <p:nvSpPr>
          <p:cNvPr id="3" name="Platshållare för text 2">
            <a:extLst>
              <a:ext uri="{FF2B5EF4-FFF2-40B4-BE49-F238E27FC236}">
                <a16:creationId xmlns:a16="http://schemas.microsoft.com/office/drawing/2014/main" id="{86284E1E-CDE1-4D1F-8194-9D49212C3D60}"/>
              </a:ext>
            </a:extLst>
          </p:cNvPr>
          <p:cNvSpPr>
            <a:spLocks noGrp="1"/>
          </p:cNvSpPr>
          <p:nvPr>
            <p:ph type="body" idx="1"/>
          </p:nvPr>
        </p:nvSpPr>
        <p:spPr>
          <a:xfrm>
            <a:off x="1290600" y="1355400"/>
            <a:ext cx="6563954" cy="3043960"/>
          </a:xfrm>
          <a:prstGeom prst="rect">
            <a:avLst/>
          </a:prstGeom>
        </p:spPr>
        <p:txBody>
          <a:bodyPr vert="horz" lIns="0" tIns="0" rIns="0" bIns="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6" name="Platshållare för bildnummer 5">
            <a:extLst>
              <a:ext uri="{FF2B5EF4-FFF2-40B4-BE49-F238E27FC236}">
                <a16:creationId xmlns:a16="http://schemas.microsoft.com/office/drawing/2014/main" id="{15898BA3-370F-41F5-91EF-A04E5B8F8F32}"/>
              </a:ext>
              <a:ext uri="{C183D7F6-B498-43B3-948B-1728B52AA6E4}">
                <adec:decorative xmlns:adec="http://schemas.microsoft.com/office/drawing/2017/decorative" val="1"/>
              </a:ext>
            </a:extLst>
          </p:cNvPr>
          <p:cNvSpPr>
            <a:spLocks noGrp="1"/>
          </p:cNvSpPr>
          <p:nvPr>
            <p:ph type="sldNum" sz="quarter" idx="4"/>
          </p:nvPr>
        </p:nvSpPr>
        <p:spPr>
          <a:xfrm>
            <a:off x="216000" y="4767263"/>
            <a:ext cx="270000" cy="189000"/>
          </a:xfrm>
          <a:prstGeom prst="rect">
            <a:avLst/>
          </a:prstGeom>
        </p:spPr>
        <p:txBody>
          <a:bodyPr vert="horz" lIns="0" tIns="0" rIns="0" bIns="0" rtlCol="0" anchor="b" anchorCtr="0"/>
          <a:lstStyle>
            <a:lvl1pPr algn="l">
              <a:defRPr sz="900">
                <a:solidFill>
                  <a:schemeClr val="tx1"/>
                </a:solidFill>
                <a:latin typeface="+mn-lt"/>
              </a:defRPr>
            </a:lvl1pPr>
          </a:lstStyle>
          <a:p>
            <a:fld id="{5204B58B-0420-4827-A2A8-7A3D043AFDDE}" type="slidenum">
              <a:rPr lang="sv-SE" smtClean="0"/>
              <a:pPr/>
              <a:t>‹#›</a:t>
            </a:fld>
            <a:endParaRPr lang="sv-SE" dirty="0"/>
          </a:p>
        </p:txBody>
      </p:sp>
      <p:grpSp>
        <p:nvGrpSpPr>
          <p:cNvPr id="11" name="Folktandvården" hidden="1">
            <a:extLst>
              <a:ext uri="{FF2B5EF4-FFF2-40B4-BE49-F238E27FC236}">
                <a16:creationId xmlns:a16="http://schemas.microsoft.com/office/drawing/2014/main" id="{46B4192C-A430-416B-BA38-01076CB9C6F4}"/>
              </a:ext>
            </a:extLst>
          </p:cNvPr>
          <p:cNvGrpSpPr/>
          <p:nvPr userDrawn="1"/>
        </p:nvGrpSpPr>
        <p:grpSpPr>
          <a:xfrm>
            <a:off x="7490644" y="4673580"/>
            <a:ext cx="1653356" cy="324970"/>
            <a:chOff x="9987525" y="6231440"/>
            <a:chExt cx="2204474" cy="433293"/>
          </a:xfrm>
        </p:grpSpPr>
        <p:sp>
          <p:nvSpPr>
            <p:cNvPr id="17" name="Rektangel 16">
              <a:extLst>
                <a:ext uri="{FF2B5EF4-FFF2-40B4-BE49-F238E27FC236}">
                  <a16:creationId xmlns:a16="http://schemas.microsoft.com/office/drawing/2014/main" id="{F28F0DCF-1CC6-4CA0-9C6B-7A6A9001166F}"/>
                </a:ext>
              </a:extLst>
            </p:cNvPr>
            <p:cNvSpPr/>
            <p:nvPr userDrawn="1"/>
          </p:nvSpPr>
          <p:spPr>
            <a:xfrm>
              <a:off x="11604170" y="6231440"/>
              <a:ext cx="587829" cy="433117"/>
            </a:xfrm>
            <a:prstGeom prst="rect">
              <a:avLst/>
            </a:prstGeom>
            <a:solidFill>
              <a:srgbClr val="0861CE"/>
            </a:solidFill>
            <a:ln w="3709" cap="flat">
              <a:noFill/>
              <a:prstDash val="solid"/>
              <a:miter/>
            </a:ln>
          </p:spPr>
          <p:txBody>
            <a:bodyPr rtlCol="0" anchor="ctr"/>
            <a:lstStyle/>
            <a:p>
              <a:endParaRPr lang="sv-SE" sz="1350"/>
            </a:p>
          </p:txBody>
        </p:sp>
        <p:sp>
          <p:nvSpPr>
            <p:cNvPr id="13" name="Frihandsfigur: Form 12">
              <a:extLst>
                <a:ext uri="{FF2B5EF4-FFF2-40B4-BE49-F238E27FC236}">
                  <a16:creationId xmlns:a16="http://schemas.microsoft.com/office/drawing/2014/main" id="{FEDAC4F5-53DC-4758-B526-A1BD86931DC2}"/>
                </a:ext>
              </a:extLst>
            </p:cNvPr>
            <p:cNvSpPr/>
            <p:nvPr userDrawn="1"/>
          </p:nvSpPr>
          <p:spPr>
            <a:xfrm>
              <a:off x="9987525" y="6231616"/>
              <a:ext cx="1616646" cy="433117"/>
            </a:xfrm>
            <a:custGeom>
              <a:avLst/>
              <a:gdLst>
                <a:gd name="connsiteX0" fmla="*/ 216372 w 1616646"/>
                <a:gd name="connsiteY0" fmla="*/ 0 h 433117"/>
                <a:gd name="connsiteX1" fmla="*/ 1616646 w 1616646"/>
                <a:gd name="connsiteY1" fmla="*/ 0 h 433117"/>
                <a:gd name="connsiteX2" fmla="*/ 1616646 w 1616646"/>
                <a:gd name="connsiteY2" fmla="*/ 0 h 433117"/>
                <a:gd name="connsiteX3" fmla="*/ 1616646 w 1616646"/>
                <a:gd name="connsiteY3" fmla="*/ 433117 h 433117"/>
                <a:gd name="connsiteX4" fmla="*/ 1616646 w 1616646"/>
                <a:gd name="connsiteY4" fmla="*/ 433117 h 433117"/>
                <a:gd name="connsiteX5" fmla="*/ 216372 w 1616646"/>
                <a:gd name="connsiteY5" fmla="*/ 433117 h 433117"/>
                <a:gd name="connsiteX6" fmla="*/ 0 w 1616646"/>
                <a:gd name="connsiteY6" fmla="*/ 216372 h 433117"/>
                <a:gd name="connsiteX7" fmla="*/ 0 w 1616646"/>
                <a:gd name="connsiteY7" fmla="*/ 216372 h 433117"/>
                <a:gd name="connsiteX8" fmla="*/ 0 w 1616646"/>
                <a:gd name="connsiteY8" fmla="*/ 216372 h 433117"/>
                <a:gd name="connsiteX9" fmla="*/ 216372 w 1616646"/>
                <a:gd name="connsiteY9" fmla="*/ 0 h 433117"/>
                <a:gd name="connsiteX10" fmla="*/ 216372 w 1616646"/>
                <a:gd name="connsiteY10" fmla="*/ 0 h 43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646" h="433117">
                  <a:moveTo>
                    <a:pt x="216372" y="0"/>
                  </a:moveTo>
                  <a:lnTo>
                    <a:pt x="1616646" y="0"/>
                  </a:lnTo>
                  <a:lnTo>
                    <a:pt x="1616646" y="0"/>
                  </a:lnTo>
                  <a:lnTo>
                    <a:pt x="1616646" y="433117"/>
                  </a:lnTo>
                  <a:lnTo>
                    <a:pt x="1616646" y="433117"/>
                  </a:lnTo>
                  <a:lnTo>
                    <a:pt x="216372" y="433117"/>
                  </a:lnTo>
                  <a:cubicBezTo>
                    <a:pt x="96827" y="433117"/>
                    <a:pt x="0" y="335917"/>
                    <a:pt x="0" y="216372"/>
                  </a:cubicBezTo>
                  <a:cubicBezTo>
                    <a:pt x="0" y="216372"/>
                    <a:pt x="0" y="216372"/>
                    <a:pt x="0" y="216372"/>
                  </a:cubicBezTo>
                  <a:lnTo>
                    <a:pt x="0" y="216372"/>
                  </a:lnTo>
                  <a:cubicBezTo>
                    <a:pt x="0" y="96828"/>
                    <a:pt x="96827" y="0"/>
                    <a:pt x="216372" y="0"/>
                  </a:cubicBezTo>
                  <a:cubicBezTo>
                    <a:pt x="216372" y="0"/>
                    <a:pt x="216372" y="0"/>
                    <a:pt x="216372" y="0"/>
                  </a:cubicBezTo>
                  <a:close/>
                </a:path>
              </a:pathLst>
            </a:custGeom>
            <a:solidFill>
              <a:srgbClr val="0861CE"/>
            </a:solidFill>
            <a:ln w="3709" cap="flat">
              <a:noFill/>
              <a:prstDash val="solid"/>
              <a:miter/>
            </a:ln>
          </p:spPr>
          <p:txBody>
            <a:bodyPr rtlCol="0" anchor="ctr"/>
            <a:lstStyle/>
            <a:p>
              <a:endParaRPr lang="sv-SE" sz="1350"/>
            </a:p>
          </p:txBody>
        </p:sp>
        <p:pic>
          <p:nvPicPr>
            <p:cNvPr id="10" name="Bild 9">
              <a:extLst>
                <a:ext uri="{FF2B5EF4-FFF2-40B4-BE49-F238E27FC236}">
                  <a16:creationId xmlns:a16="http://schemas.microsoft.com/office/drawing/2014/main" id="{B14777EB-4318-44AF-8036-D55F7A6420FF}"/>
                </a:ext>
              </a:extLst>
            </p:cNvPr>
            <p:cNvPicPr>
              <a:picLocks noChangeAspect="1"/>
            </p:cNvPicPr>
            <p:nvPr userDrawn="1"/>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071462" y="6301064"/>
              <a:ext cx="1832076" cy="305346"/>
            </a:xfrm>
            <a:prstGeom prst="rect">
              <a:avLst/>
            </a:prstGeom>
          </p:spPr>
        </p:pic>
      </p:grpSp>
      <p:grpSp>
        <p:nvGrpSpPr>
          <p:cNvPr id="19" name="Region Östergötland">
            <a:extLst>
              <a:ext uri="{FF2B5EF4-FFF2-40B4-BE49-F238E27FC236}">
                <a16:creationId xmlns:a16="http://schemas.microsoft.com/office/drawing/2014/main" id="{12B8B0FE-E494-49FD-B26D-9B726E254203}"/>
              </a:ext>
              <a:ext uri="{C183D7F6-B498-43B3-948B-1728B52AA6E4}">
                <adec:decorative xmlns:adec="http://schemas.microsoft.com/office/drawing/2017/decorative" val="1"/>
              </a:ext>
            </a:extLst>
          </p:cNvPr>
          <p:cNvGrpSpPr/>
          <p:nvPr userDrawn="1"/>
        </p:nvGrpSpPr>
        <p:grpSpPr>
          <a:xfrm>
            <a:off x="7930585" y="4673844"/>
            <a:ext cx="1212485" cy="324838"/>
            <a:chOff x="10580645" y="6231792"/>
            <a:chExt cx="1616646" cy="433117"/>
          </a:xfrm>
        </p:grpSpPr>
        <p:sp>
          <p:nvSpPr>
            <p:cNvPr id="20" name="Frihandsfigur: Form 19">
              <a:extLst>
                <a:ext uri="{FF2B5EF4-FFF2-40B4-BE49-F238E27FC236}">
                  <a16:creationId xmlns:a16="http://schemas.microsoft.com/office/drawing/2014/main" id="{E29E9866-AB3F-4A58-BC98-5E1FEF56ED1F}"/>
                </a:ext>
              </a:extLst>
            </p:cNvPr>
            <p:cNvSpPr/>
            <p:nvPr userDrawn="1"/>
          </p:nvSpPr>
          <p:spPr>
            <a:xfrm>
              <a:off x="10580645" y="6231792"/>
              <a:ext cx="1616646" cy="433117"/>
            </a:xfrm>
            <a:custGeom>
              <a:avLst/>
              <a:gdLst>
                <a:gd name="connsiteX0" fmla="*/ 216372 w 1616646"/>
                <a:gd name="connsiteY0" fmla="*/ 0 h 433117"/>
                <a:gd name="connsiteX1" fmla="*/ 1616646 w 1616646"/>
                <a:gd name="connsiteY1" fmla="*/ 0 h 433117"/>
                <a:gd name="connsiteX2" fmla="*/ 1616646 w 1616646"/>
                <a:gd name="connsiteY2" fmla="*/ 0 h 433117"/>
                <a:gd name="connsiteX3" fmla="*/ 1616646 w 1616646"/>
                <a:gd name="connsiteY3" fmla="*/ 433117 h 433117"/>
                <a:gd name="connsiteX4" fmla="*/ 1616646 w 1616646"/>
                <a:gd name="connsiteY4" fmla="*/ 433117 h 433117"/>
                <a:gd name="connsiteX5" fmla="*/ 216372 w 1616646"/>
                <a:gd name="connsiteY5" fmla="*/ 433117 h 433117"/>
                <a:gd name="connsiteX6" fmla="*/ 0 w 1616646"/>
                <a:gd name="connsiteY6" fmla="*/ 216372 h 433117"/>
                <a:gd name="connsiteX7" fmla="*/ 0 w 1616646"/>
                <a:gd name="connsiteY7" fmla="*/ 216372 h 433117"/>
                <a:gd name="connsiteX8" fmla="*/ 0 w 1616646"/>
                <a:gd name="connsiteY8" fmla="*/ 216372 h 433117"/>
                <a:gd name="connsiteX9" fmla="*/ 216372 w 1616646"/>
                <a:gd name="connsiteY9" fmla="*/ 0 h 433117"/>
                <a:gd name="connsiteX10" fmla="*/ 216372 w 1616646"/>
                <a:gd name="connsiteY10" fmla="*/ 0 h 43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646" h="433117">
                  <a:moveTo>
                    <a:pt x="216372" y="0"/>
                  </a:moveTo>
                  <a:lnTo>
                    <a:pt x="1616646" y="0"/>
                  </a:lnTo>
                  <a:lnTo>
                    <a:pt x="1616646" y="0"/>
                  </a:lnTo>
                  <a:lnTo>
                    <a:pt x="1616646" y="433117"/>
                  </a:lnTo>
                  <a:lnTo>
                    <a:pt x="1616646" y="433117"/>
                  </a:lnTo>
                  <a:lnTo>
                    <a:pt x="216372" y="433117"/>
                  </a:lnTo>
                  <a:cubicBezTo>
                    <a:pt x="96827" y="433117"/>
                    <a:pt x="0" y="335917"/>
                    <a:pt x="0" y="216372"/>
                  </a:cubicBezTo>
                  <a:cubicBezTo>
                    <a:pt x="0" y="216372"/>
                    <a:pt x="0" y="216372"/>
                    <a:pt x="0" y="216372"/>
                  </a:cubicBezTo>
                  <a:lnTo>
                    <a:pt x="0" y="216372"/>
                  </a:lnTo>
                  <a:cubicBezTo>
                    <a:pt x="0" y="96828"/>
                    <a:pt x="96827" y="0"/>
                    <a:pt x="216372" y="0"/>
                  </a:cubicBezTo>
                  <a:cubicBezTo>
                    <a:pt x="216372" y="0"/>
                    <a:pt x="216372" y="0"/>
                    <a:pt x="216372" y="0"/>
                  </a:cubicBezTo>
                  <a:close/>
                </a:path>
              </a:pathLst>
            </a:custGeom>
            <a:solidFill>
              <a:srgbClr val="0861CE"/>
            </a:solidFill>
            <a:ln w="3709" cap="flat">
              <a:noFill/>
              <a:prstDash val="solid"/>
              <a:miter/>
            </a:ln>
          </p:spPr>
          <p:txBody>
            <a:bodyPr rtlCol="0" anchor="ctr"/>
            <a:lstStyle/>
            <a:p>
              <a:endParaRPr lang="sv-SE" sz="1350"/>
            </a:p>
          </p:txBody>
        </p:sp>
        <p:sp>
          <p:nvSpPr>
            <p:cNvPr id="21" name="Frihandsfigur: Form 20">
              <a:extLst>
                <a:ext uri="{FF2B5EF4-FFF2-40B4-BE49-F238E27FC236}">
                  <a16:creationId xmlns:a16="http://schemas.microsoft.com/office/drawing/2014/main" id="{ADBD61C2-B8AD-4888-B30A-1F1537F6107F}"/>
                </a:ext>
              </a:extLst>
            </p:cNvPr>
            <p:cNvSpPr/>
            <p:nvPr/>
          </p:nvSpPr>
          <p:spPr>
            <a:xfrm>
              <a:off x="10647288" y="6298826"/>
              <a:ext cx="1254307" cy="298698"/>
            </a:xfrm>
            <a:custGeom>
              <a:avLst/>
              <a:gdLst>
                <a:gd name="connsiteX0" fmla="*/ 1053948 w 1254307"/>
                <a:gd name="connsiteY0" fmla="*/ 221958 h 298698"/>
                <a:gd name="connsiteX1" fmla="*/ 1027135 w 1254307"/>
                <a:gd name="connsiteY1" fmla="*/ 228662 h 298698"/>
                <a:gd name="connsiteX2" fmla="*/ 1023783 w 1254307"/>
                <a:gd name="connsiteY2" fmla="*/ 237972 h 298698"/>
                <a:gd name="connsiteX3" fmla="*/ 1039424 w 1254307"/>
                <a:gd name="connsiteY3" fmla="*/ 251379 h 298698"/>
                <a:gd name="connsiteX4" fmla="*/ 1057672 w 1254307"/>
                <a:gd name="connsiteY4" fmla="*/ 245793 h 298698"/>
                <a:gd name="connsiteX5" fmla="*/ 1058417 w 1254307"/>
                <a:gd name="connsiteY5" fmla="*/ 245420 h 298698"/>
                <a:gd name="connsiteX6" fmla="*/ 1058790 w 1254307"/>
                <a:gd name="connsiteY6" fmla="*/ 245048 h 298698"/>
                <a:gd name="connsiteX7" fmla="*/ 1058790 w 1254307"/>
                <a:gd name="connsiteY7" fmla="*/ 221958 h 298698"/>
                <a:gd name="connsiteX8" fmla="*/ 1221535 w 1254307"/>
                <a:gd name="connsiteY8" fmla="*/ 191793 h 298698"/>
                <a:gd name="connsiteX9" fmla="*/ 1196210 w 1254307"/>
                <a:gd name="connsiteY9" fmla="*/ 221958 h 298698"/>
                <a:gd name="connsiteX10" fmla="*/ 1219300 w 1254307"/>
                <a:gd name="connsiteY10" fmla="*/ 250262 h 298698"/>
                <a:gd name="connsiteX11" fmla="*/ 1236059 w 1254307"/>
                <a:gd name="connsiteY11" fmla="*/ 244676 h 298698"/>
                <a:gd name="connsiteX12" fmla="*/ 1236804 w 1254307"/>
                <a:gd name="connsiteY12" fmla="*/ 244303 h 298698"/>
                <a:gd name="connsiteX13" fmla="*/ 1237176 w 1254307"/>
                <a:gd name="connsiteY13" fmla="*/ 196634 h 298698"/>
                <a:gd name="connsiteX14" fmla="*/ 1236804 w 1254307"/>
                <a:gd name="connsiteY14" fmla="*/ 196262 h 298698"/>
                <a:gd name="connsiteX15" fmla="*/ 1221535 w 1254307"/>
                <a:gd name="connsiteY15" fmla="*/ 191793 h 298698"/>
                <a:gd name="connsiteX16" fmla="*/ 850239 w 1254307"/>
                <a:gd name="connsiteY16" fmla="*/ 191793 h 298698"/>
                <a:gd name="connsiteX17" fmla="*/ 827521 w 1254307"/>
                <a:gd name="connsiteY17" fmla="*/ 220841 h 298698"/>
                <a:gd name="connsiteX18" fmla="*/ 850983 w 1254307"/>
                <a:gd name="connsiteY18" fmla="*/ 250634 h 298698"/>
                <a:gd name="connsiteX19" fmla="*/ 873328 w 1254307"/>
                <a:gd name="connsiteY19" fmla="*/ 221586 h 298698"/>
                <a:gd name="connsiteX20" fmla="*/ 850239 w 1254307"/>
                <a:gd name="connsiteY20" fmla="*/ 191793 h 298698"/>
                <a:gd name="connsiteX21" fmla="*/ 761232 w 1254307"/>
                <a:gd name="connsiteY21" fmla="*/ 191793 h 298698"/>
                <a:gd name="connsiteX22" fmla="*/ 735907 w 1254307"/>
                <a:gd name="connsiteY22" fmla="*/ 221213 h 298698"/>
                <a:gd name="connsiteX23" fmla="*/ 758625 w 1254307"/>
                <a:gd name="connsiteY23" fmla="*/ 248772 h 298698"/>
                <a:gd name="connsiteX24" fmla="*/ 776500 w 1254307"/>
                <a:gd name="connsiteY24" fmla="*/ 242813 h 298698"/>
                <a:gd name="connsiteX25" fmla="*/ 776500 w 1254307"/>
                <a:gd name="connsiteY25" fmla="*/ 195144 h 298698"/>
                <a:gd name="connsiteX26" fmla="*/ 776128 w 1254307"/>
                <a:gd name="connsiteY26" fmla="*/ 194772 h 298698"/>
                <a:gd name="connsiteX27" fmla="*/ 761232 w 1254307"/>
                <a:gd name="connsiteY27" fmla="*/ 191793 h 298698"/>
                <a:gd name="connsiteX28" fmla="*/ 611893 w 1254307"/>
                <a:gd name="connsiteY28" fmla="*/ 190675 h 298698"/>
                <a:gd name="connsiteX29" fmla="*/ 589549 w 1254307"/>
                <a:gd name="connsiteY29" fmla="*/ 213020 h 298698"/>
                <a:gd name="connsiteX30" fmla="*/ 589549 w 1254307"/>
                <a:gd name="connsiteY30" fmla="*/ 213765 h 298698"/>
                <a:gd name="connsiteX31" fmla="*/ 630514 w 1254307"/>
                <a:gd name="connsiteY31" fmla="*/ 213765 h 298698"/>
                <a:gd name="connsiteX32" fmla="*/ 630514 w 1254307"/>
                <a:gd name="connsiteY32" fmla="*/ 213020 h 298698"/>
                <a:gd name="connsiteX33" fmla="*/ 611893 w 1254307"/>
                <a:gd name="connsiteY33" fmla="*/ 190675 h 298698"/>
                <a:gd name="connsiteX34" fmla="*/ 467770 w 1254307"/>
                <a:gd name="connsiteY34" fmla="*/ 178014 h 298698"/>
                <a:gd name="connsiteX35" fmla="*/ 493839 w 1254307"/>
                <a:gd name="connsiteY35" fmla="*/ 185090 h 298698"/>
                <a:gd name="connsiteX36" fmla="*/ 487880 w 1254307"/>
                <a:gd name="connsiteY36" fmla="*/ 195890 h 298698"/>
                <a:gd name="connsiteX37" fmla="*/ 468887 w 1254307"/>
                <a:gd name="connsiteY37" fmla="*/ 190676 h 298698"/>
                <a:gd name="connsiteX38" fmla="*/ 454735 w 1254307"/>
                <a:gd name="connsiteY38" fmla="*/ 201104 h 298698"/>
                <a:gd name="connsiteX39" fmla="*/ 469632 w 1254307"/>
                <a:gd name="connsiteY39" fmla="*/ 213766 h 298698"/>
                <a:gd name="connsiteX40" fmla="*/ 470749 w 1254307"/>
                <a:gd name="connsiteY40" fmla="*/ 214138 h 298698"/>
                <a:gd name="connsiteX41" fmla="*/ 494956 w 1254307"/>
                <a:gd name="connsiteY41" fmla="*/ 239835 h 298698"/>
                <a:gd name="connsiteX42" fmla="*/ 464046 w 1254307"/>
                <a:gd name="connsiteY42" fmla="*/ 264787 h 298698"/>
                <a:gd name="connsiteX43" fmla="*/ 434625 w 1254307"/>
                <a:gd name="connsiteY43" fmla="*/ 256593 h 298698"/>
                <a:gd name="connsiteX44" fmla="*/ 440584 w 1254307"/>
                <a:gd name="connsiteY44" fmla="*/ 245421 h 298698"/>
                <a:gd name="connsiteX45" fmla="*/ 462184 w 1254307"/>
                <a:gd name="connsiteY45" fmla="*/ 251752 h 298698"/>
                <a:gd name="connsiteX46" fmla="*/ 477453 w 1254307"/>
                <a:gd name="connsiteY46" fmla="*/ 240580 h 298698"/>
                <a:gd name="connsiteX47" fmla="*/ 461811 w 1254307"/>
                <a:gd name="connsiteY47" fmla="*/ 227545 h 298698"/>
                <a:gd name="connsiteX48" fmla="*/ 459204 w 1254307"/>
                <a:gd name="connsiteY48" fmla="*/ 226428 h 298698"/>
                <a:gd name="connsiteX49" fmla="*/ 437604 w 1254307"/>
                <a:gd name="connsiteY49" fmla="*/ 202221 h 298698"/>
                <a:gd name="connsiteX50" fmla="*/ 467770 w 1254307"/>
                <a:gd name="connsiteY50" fmla="*/ 178014 h 298698"/>
                <a:gd name="connsiteX51" fmla="*/ 1134762 w 1254307"/>
                <a:gd name="connsiteY51" fmla="*/ 177641 h 298698"/>
                <a:gd name="connsiteX52" fmla="*/ 1155245 w 1254307"/>
                <a:gd name="connsiteY52" fmla="*/ 185089 h 298698"/>
                <a:gd name="connsiteX53" fmla="*/ 1163438 w 1254307"/>
                <a:gd name="connsiteY53" fmla="*/ 215627 h 298698"/>
                <a:gd name="connsiteX54" fmla="*/ 1163438 w 1254307"/>
                <a:gd name="connsiteY54" fmla="*/ 262551 h 298698"/>
                <a:gd name="connsiteX55" fmla="*/ 1146307 w 1254307"/>
                <a:gd name="connsiteY55" fmla="*/ 262551 h 298698"/>
                <a:gd name="connsiteX56" fmla="*/ 1146307 w 1254307"/>
                <a:gd name="connsiteY56" fmla="*/ 217489 h 298698"/>
                <a:gd name="connsiteX57" fmla="*/ 1142210 w 1254307"/>
                <a:gd name="connsiteY57" fmla="*/ 196262 h 298698"/>
                <a:gd name="connsiteX58" fmla="*/ 1131038 w 1254307"/>
                <a:gd name="connsiteY58" fmla="*/ 192538 h 298698"/>
                <a:gd name="connsiteX59" fmla="*/ 1112045 w 1254307"/>
                <a:gd name="connsiteY59" fmla="*/ 198869 h 298698"/>
                <a:gd name="connsiteX60" fmla="*/ 1111672 w 1254307"/>
                <a:gd name="connsiteY60" fmla="*/ 199241 h 298698"/>
                <a:gd name="connsiteX61" fmla="*/ 1111672 w 1254307"/>
                <a:gd name="connsiteY61" fmla="*/ 262924 h 298698"/>
                <a:gd name="connsiteX62" fmla="*/ 1094169 w 1254307"/>
                <a:gd name="connsiteY62" fmla="*/ 262924 h 298698"/>
                <a:gd name="connsiteX63" fmla="*/ 1094169 w 1254307"/>
                <a:gd name="connsiteY63" fmla="*/ 180248 h 298698"/>
                <a:gd name="connsiteX64" fmla="*/ 1109066 w 1254307"/>
                <a:gd name="connsiteY64" fmla="*/ 180248 h 298698"/>
                <a:gd name="connsiteX65" fmla="*/ 1109066 w 1254307"/>
                <a:gd name="connsiteY65" fmla="*/ 187324 h 298698"/>
                <a:gd name="connsiteX66" fmla="*/ 1110183 w 1254307"/>
                <a:gd name="connsiteY66" fmla="*/ 186207 h 298698"/>
                <a:gd name="connsiteX67" fmla="*/ 1134762 w 1254307"/>
                <a:gd name="connsiteY67" fmla="*/ 177641 h 298698"/>
                <a:gd name="connsiteX68" fmla="*/ 1043148 w 1254307"/>
                <a:gd name="connsiteY68" fmla="*/ 177641 h 298698"/>
                <a:gd name="connsiteX69" fmla="*/ 1068845 w 1254307"/>
                <a:gd name="connsiteY69" fmla="*/ 186207 h 298698"/>
                <a:gd name="connsiteX70" fmla="*/ 1074804 w 1254307"/>
                <a:gd name="connsiteY70" fmla="*/ 211531 h 298698"/>
                <a:gd name="connsiteX71" fmla="*/ 1074804 w 1254307"/>
                <a:gd name="connsiteY71" fmla="*/ 262924 h 298698"/>
                <a:gd name="connsiteX72" fmla="*/ 1059907 w 1254307"/>
                <a:gd name="connsiteY72" fmla="*/ 262924 h 298698"/>
                <a:gd name="connsiteX73" fmla="*/ 1059907 w 1254307"/>
                <a:gd name="connsiteY73" fmla="*/ 255848 h 298698"/>
                <a:gd name="connsiteX74" fmla="*/ 1058790 w 1254307"/>
                <a:gd name="connsiteY74" fmla="*/ 256593 h 298698"/>
                <a:gd name="connsiteX75" fmla="*/ 1034583 w 1254307"/>
                <a:gd name="connsiteY75" fmla="*/ 264414 h 298698"/>
                <a:gd name="connsiteX76" fmla="*/ 1008514 w 1254307"/>
                <a:gd name="connsiteY76" fmla="*/ 238717 h 298698"/>
                <a:gd name="connsiteX77" fmla="*/ 1055066 w 1254307"/>
                <a:gd name="connsiteY77" fmla="*/ 210041 h 298698"/>
                <a:gd name="connsiteX78" fmla="*/ 1058790 w 1254307"/>
                <a:gd name="connsiteY78" fmla="*/ 210041 h 298698"/>
                <a:gd name="connsiteX79" fmla="*/ 1058790 w 1254307"/>
                <a:gd name="connsiteY79" fmla="*/ 205945 h 298698"/>
                <a:gd name="connsiteX80" fmla="*/ 1055810 w 1254307"/>
                <a:gd name="connsiteY80" fmla="*/ 194772 h 298698"/>
                <a:gd name="connsiteX81" fmla="*/ 1041659 w 1254307"/>
                <a:gd name="connsiteY81" fmla="*/ 190676 h 298698"/>
                <a:gd name="connsiteX82" fmla="*/ 1019314 w 1254307"/>
                <a:gd name="connsiteY82" fmla="*/ 197007 h 298698"/>
                <a:gd name="connsiteX83" fmla="*/ 1013355 w 1254307"/>
                <a:gd name="connsiteY83" fmla="*/ 186207 h 298698"/>
                <a:gd name="connsiteX84" fmla="*/ 1043148 w 1254307"/>
                <a:gd name="connsiteY84" fmla="*/ 177641 h 298698"/>
                <a:gd name="connsiteX85" fmla="*/ 851356 w 1254307"/>
                <a:gd name="connsiteY85" fmla="*/ 177641 h 298698"/>
                <a:gd name="connsiteX86" fmla="*/ 891204 w 1254307"/>
                <a:gd name="connsiteY86" fmla="*/ 220469 h 298698"/>
                <a:gd name="connsiteX87" fmla="*/ 849866 w 1254307"/>
                <a:gd name="connsiteY87" fmla="*/ 264413 h 298698"/>
                <a:gd name="connsiteX88" fmla="*/ 810018 w 1254307"/>
                <a:gd name="connsiteY88" fmla="*/ 221586 h 298698"/>
                <a:gd name="connsiteX89" fmla="*/ 851356 w 1254307"/>
                <a:gd name="connsiteY89" fmla="*/ 177641 h 298698"/>
                <a:gd name="connsiteX90" fmla="*/ 761604 w 1254307"/>
                <a:gd name="connsiteY90" fmla="*/ 177641 h 298698"/>
                <a:gd name="connsiteX91" fmla="*/ 793631 w 1254307"/>
                <a:gd name="connsiteY91" fmla="*/ 185834 h 298698"/>
                <a:gd name="connsiteX92" fmla="*/ 793631 w 1254307"/>
                <a:gd name="connsiteY92" fmla="*/ 259200 h 298698"/>
                <a:gd name="connsiteX93" fmla="*/ 785438 w 1254307"/>
                <a:gd name="connsiteY93" fmla="*/ 288248 h 298698"/>
                <a:gd name="connsiteX94" fmla="*/ 756390 w 1254307"/>
                <a:gd name="connsiteY94" fmla="*/ 298675 h 298698"/>
                <a:gd name="connsiteX95" fmla="*/ 721756 w 1254307"/>
                <a:gd name="connsiteY95" fmla="*/ 287503 h 298698"/>
                <a:gd name="connsiteX96" fmla="*/ 728832 w 1254307"/>
                <a:gd name="connsiteY96" fmla="*/ 276331 h 298698"/>
                <a:gd name="connsiteX97" fmla="*/ 754528 w 1254307"/>
                <a:gd name="connsiteY97" fmla="*/ 284524 h 298698"/>
                <a:gd name="connsiteX98" fmla="*/ 770914 w 1254307"/>
                <a:gd name="connsiteY98" fmla="*/ 279682 h 298698"/>
                <a:gd name="connsiteX99" fmla="*/ 776873 w 1254307"/>
                <a:gd name="connsiteY99" fmla="*/ 259944 h 298698"/>
                <a:gd name="connsiteX100" fmla="*/ 776873 w 1254307"/>
                <a:gd name="connsiteY100" fmla="*/ 256220 h 298698"/>
                <a:gd name="connsiteX101" fmla="*/ 775756 w 1254307"/>
                <a:gd name="connsiteY101" fmla="*/ 256965 h 298698"/>
                <a:gd name="connsiteX102" fmla="*/ 775011 w 1254307"/>
                <a:gd name="connsiteY102" fmla="*/ 257338 h 298698"/>
                <a:gd name="connsiteX103" fmla="*/ 754901 w 1254307"/>
                <a:gd name="connsiteY103" fmla="*/ 262551 h 298698"/>
                <a:gd name="connsiteX104" fmla="*/ 718404 w 1254307"/>
                <a:gd name="connsiteY104" fmla="*/ 221958 h 298698"/>
                <a:gd name="connsiteX105" fmla="*/ 761604 w 1254307"/>
                <a:gd name="connsiteY105" fmla="*/ 177641 h 298698"/>
                <a:gd name="connsiteX106" fmla="*/ 706487 w 1254307"/>
                <a:gd name="connsiteY106" fmla="*/ 177641 h 298698"/>
                <a:gd name="connsiteX107" fmla="*/ 714680 w 1254307"/>
                <a:gd name="connsiteY107" fmla="*/ 179131 h 298698"/>
                <a:gd name="connsiteX108" fmla="*/ 710583 w 1254307"/>
                <a:gd name="connsiteY108" fmla="*/ 192538 h 298698"/>
                <a:gd name="connsiteX109" fmla="*/ 705370 w 1254307"/>
                <a:gd name="connsiteY109" fmla="*/ 192165 h 298698"/>
                <a:gd name="connsiteX110" fmla="*/ 680418 w 1254307"/>
                <a:gd name="connsiteY110" fmla="*/ 205572 h 298698"/>
                <a:gd name="connsiteX111" fmla="*/ 680418 w 1254307"/>
                <a:gd name="connsiteY111" fmla="*/ 262551 h 298698"/>
                <a:gd name="connsiteX112" fmla="*/ 663287 w 1254307"/>
                <a:gd name="connsiteY112" fmla="*/ 262551 h 298698"/>
                <a:gd name="connsiteX113" fmla="*/ 663287 w 1254307"/>
                <a:gd name="connsiteY113" fmla="*/ 180248 h 298698"/>
                <a:gd name="connsiteX114" fmla="*/ 678184 w 1254307"/>
                <a:gd name="connsiteY114" fmla="*/ 180248 h 298698"/>
                <a:gd name="connsiteX115" fmla="*/ 678184 w 1254307"/>
                <a:gd name="connsiteY115" fmla="*/ 192910 h 298698"/>
                <a:gd name="connsiteX116" fmla="*/ 679673 w 1254307"/>
                <a:gd name="connsiteY116" fmla="*/ 190303 h 298698"/>
                <a:gd name="connsiteX117" fmla="*/ 706487 w 1254307"/>
                <a:gd name="connsiteY117" fmla="*/ 177641 h 298698"/>
                <a:gd name="connsiteX118" fmla="*/ 611521 w 1254307"/>
                <a:gd name="connsiteY118" fmla="*/ 177641 h 298698"/>
                <a:gd name="connsiteX119" fmla="*/ 646900 w 1254307"/>
                <a:gd name="connsiteY119" fmla="*/ 220096 h 298698"/>
                <a:gd name="connsiteX120" fmla="*/ 646528 w 1254307"/>
                <a:gd name="connsiteY120" fmla="*/ 224565 h 298698"/>
                <a:gd name="connsiteX121" fmla="*/ 646528 w 1254307"/>
                <a:gd name="connsiteY121" fmla="*/ 226055 h 298698"/>
                <a:gd name="connsiteX122" fmla="*/ 589549 w 1254307"/>
                <a:gd name="connsiteY122" fmla="*/ 226055 h 298698"/>
                <a:gd name="connsiteX123" fmla="*/ 589549 w 1254307"/>
                <a:gd name="connsiteY123" fmla="*/ 226800 h 298698"/>
                <a:gd name="connsiteX124" fmla="*/ 589549 w 1254307"/>
                <a:gd name="connsiteY124" fmla="*/ 228662 h 298698"/>
                <a:gd name="connsiteX125" fmla="*/ 614128 w 1254307"/>
                <a:gd name="connsiteY125" fmla="*/ 250634 h 298698"/>
                <a:gd name="connsiteX126" fmla="*/ 636845 w 1254307"/>
                <a:gd name="connsiteY126" fmla="*/ 244675 h 298698"/>
                <a:gd name="connsiteX127" fmla="*/ 642804 w 1254307"/>
                <a:gd name="connsiteY127" fmla="*/ 255848 h 298698"/>
                <a:gd name="connsiteX128" fmla="*/ 612638 w 1254307"/>
                <a:gd name="connsiteY128" fmla="*/ 264413 h 298698"/>
                <a:gd name="connsiteX129" fmla="*/ 572790 w 1254307"/>
                <a:gd name="connsiteY129" fmla="*/ 221586 h 298698"/>
                <a:gd name="connsiteX130" fmla="*/ 611521 w 1254307"/>
                <a:gd name="connsiteY130" fmla="*/ 177641 h 298698"/>
                <a:gd name="connsiteX131" fmla="*/ 372060 w 1254307"/>
                <a:gd name="connsiteY131" fmla="*/ 164979 h 298698"/>
                <a:gd name="connsiteX132" fmla="*/ 339287 w 1254307"/>
                <a:gd name="connsiteY132" fmla="*/ 208179 h 298698"/>
                <a:gd name="connsiteX133" fmla="*/ 373177 w 1254307"/>
                <a:gd name="connsiteY133" fmla="*/ 250262 h 298698"/>
                <a:gd name="connsiteX134" fmla="*/ 406322 w 1254307"/>
                <a:gd name="connsiteY134" fmla="*/ 206689 h 298698"/>
                <a:gd name="connsiteX135" fmla="*/ 372060 w 1254307"/>
                <a:gd name="connsiteY135" fmla="*/ 164979 h 298698"/>
                <a:gd name="connsiteX136" fmla="*/ 915038 w 1254307"/>
                <a:gd name="connsiteY136" fmla="*/ 156041 h 298698"/>
                <a:gd name="connsiteX137" fmla="*/ 932541 w 1254307"/>
                <a:gd name="connsiteY137" fmla="*/ 156041 h 298698"/>
                <a:gd name="connsiteX138" fmla="*/ 932541 w 1254307"/>
                <a:gd name="connsiteY138" fmla="*/ 180248 h 298698"/>
                <a:gd name="connsiteX139" fmla="*/ 957121 w 1254307"/>
                <a:gd name="connsiteY139" fmla="*/ 180248 h 298698"/>
                <a:gd name="connsiteX140" fmla="*/ 957121 w 1254307"/>
                <a:gd name="connsiteY140" fmla="*/ 194027 h 298698"/>
                <a:gd name="connsiteX141" fmla="*/ 932541 w 1254307"/>
                <a:gd name="connsiteY141" fmla="*/ 194027 h 298698"/>
                <a:gd name="connsiteX142" fmla="*/ 932541 w 1254307"/>
                <a:gd name="connsiteY142" fmla="*/ 234248 h 298698"/>
                <a:gd name="connsiteX143" fmla="*/ 944459 w 1254307"/>
                <a:gd name="connsiteY143" fmla="*/ 250262 h 298698"/>
                <a:gd name="connsiteX144" fmla="*/ 955259 w 1254307"/>
                <a:gd name="connsiteY144" fmla="*/ 248027 h 298698"/>
                <a:gd name="connsiteX145" fmla="*/ 959728 w 1254307"/>
                <a:gd name="connsiteY145" fmla="*/ 259944 h 298698"/>
                <a:gd name="connsiteX146" fmla="*/ 940735 w 1254307"/>
                <a:gd name="connsiteY146" fmla="*/ 264786 h 298698"/>
                <a:gd name="connsiteX147" fmla="*/ 920997 w 1254307"/>
                <a:gd name="connsiteY147" fmla="*/ 258082 h 298698"/>
                <a:gd name="connsiteX148" fmla="*/ 915038 w 1254307"/>
                <a:gd name="connsiteY148" fmla="*/ 234248 h 298698"/>
                <a:gd name="connsiteX149" fmla="*/ 915038 w 1254307"/>
                <a:gd name="connsiteY149" fmla="*/ 194027 h 298698"/>
                <a:gd name="connsiteX150" fmla="*/ 900514 w 1254307"/>
                <a:gd name="connsiteY150" fmla="*/ 194027 h 298698"/>
                <a:gd name="connsiteX151" fmla="*/ 900514 w 1254307"/>
                <a:gd name="connsiteY151" fmla="*/ 180248 h 298698"/>
                <a:gd name="connsiteX152" fmla="*/ 915038 w 1254307"/>
                <a:gd name="connsiteY152" fmla="*/ 180248 h 298698"/>
                <a:gd name="connsiteX153" fmla="*/ 519163 w 1254307"/>
                <a:gd name="connsiteY153" fmla="*/ 156041 h 298698"/>
                <a:gd name="connsiteX154" fmla="*/ 536667 w 1254307"/>
                <a:gd name="connsiteY154" fmla="*/ 156041 h 298698"/>
                <a:gd name="connsiteX155" fmla="*/ 536667 w 1254307"/>
                <a:gd name="connsiteY155" fmla="*/ 180248 h 298698"/>
                <a:gd name="connsiteX156" fmla="*/ 561246 w 1254307"/>
                <a:gd name="connsiteY156" fmla="*/ 180248 h 298698"/>
                <a:gd name="connsiteX157" fmla="*/ 561246 w 1254307"/>
                <a:gd name="connsiteY157" fmla="*/ 194027 h 298698"/>
                <a:gd name="connsiteX158" fmla="*/ 536667 w 1254307"/>
                <a:gd name="connsiteY158" fmla="*/ 194027 h 298698"/>
                <a:gd name="connsiteX159" fmla="*/ 536667 w 1254307"/>
                <a:gd name="connsiteY159" fmla="*/ 234248 h 298698"/>
                <a:gd name="connsiteX160" fmla="*/ 548956 w 1254307"/>
                <a:gd name="connsiteY160" fmla="*/ 250262 h 298698"/>
                <a:gd name="connsiteX161" fmla="*/ 559756 w 1254307"/>
                <a:gd name="connsiteY161" fmla="*/ 248027 h 298698"/>
                <a:gd name="connsiteX162" fmla="*/ 564225 w 1254307"/>
                <a:gd name="connsiteY162" fmla="*/ 259944 h 298698"/>
                <a:gd name="connsiteX163" fmla="*/ 544860 w 1254307"/>
                <a:gd name="connsiteY163" fmla="*/ 264786 h 298698"/>
                <a:gd name="connsiteX164" fmla="*/ 525122 w 1254307"/>
                <a:gd name="connsiteY164" fmla="*/ 258082 h 298698"/>
                <a:gd name="connsiteX165" fmla="*/ 519163 w 1254307"/>
                <a:gd name="connsiteY165" fmla="*/ 234248 h 298698"/>
                <a:gd name="connsiteX166" fmla="*/ 519163 w 1254307"/>
                <a:gd name="connsiteY166" fmla="*/ 194027 h 298698"/>
                <a:gd name="connsiteX167" fmla="*/ 504639 w 1254307"/>
                <a:gd name="connsiteY167" fmla="*/ 194027 h 298698"/>
                <a:gd name="connsiteX168" fmla="*/ 504639 w 1254307"/>
                <a:gd name="connsiteY168" fmla="*/ 180248 h 298698"/>
                <a:gd name="connsiteX169" fmla="*/ 519163 w 1254307"/>
                <a:gd name="connsiteY169" fmla="*/ 180248 h 298698"/>
                <a:gd name="connsiteX170" fmla="*/ 976114 w 1254307"/>
                <a:gd name="connsiteY170" fmla="*/ 150828 h 298698"/>
                <a:gd name="connsiteX171" fmla="*/ 993617 w 1254307"/>
                <a:gd name="connsiteY171" fmla="*/ 150828 h 298698"/>
                <a:gd name="connsiteX172" fmla="*/ 993617 w 1254307"/>
                <a:gd name="connsiteY172" fmla="*/ 262552 h 298698"/>
                <a:gd name="connsiteX173" fmla="*/ 976114 w 1254307"/>
                <a:gd name="connsiteY173" fmla="*/ 262552 h 298698"/>
                <a:gd name="connsiteX174" fmla="*/ 866252 w 1254307"/>
                <a:gd name="connsiteY174" fmla="*/ 150828 h 298698"/>
                <a:gd name="connsiteX175" fmla="*/ 875935 w 1254307"/>
                <a:gd name="connsiteY175" fmla="*/ 160883 h 298698"/>
                <a:gd name="connsiteX176" fmla="*/ 866252 w 1254307"/>
                <a:gd name="connsiteY176" fmla="*/ 170566 h 298698"/>
                <a:gd name="connsiteX177" fmla="*/ 856569 w 1254307"/>
                <a:gd name="connsiteY177" fmla="*/ 160511 h 298698"/>
                <a:gd name="connsiteX178" fmla="*/ 866252 w 1254307"/>
                <a:gd name="connsiteY178" fmla="*/ 150828 h 298698"/>
                <a:gd name="connsiteX179" fmla="*/ 834597 w 1254307"/>
                <a:gd name="connsiteY179" fmla="*/ 150828 h 298698"/>
                <a:gd name="connsiteX180" fmla="*/ 844652 w 1254307"/>
                <a:gd name="connsiteY180" fmla="*/ 160511 h 298698"/>
                <a:gd name="connsiteX181" fmla="*/ 834969 w 1254307"/>
                <a:gd name="connsiteY181" fmla="*/ 170566 h 298698"/>
                <a:gd name="connsiteX182" fmla="*/ 824914 w 1254307"/>
                <a:gd name="connsiteY182" fmla="*/ 160883 h 298698"/>
                <a:gd name="connsiteX183" fmla="*/ 834597 w 1254307"/>
                <a:gd name="connsiteY183" fmla="*/ 150828 h 298698"/>
                <a:gd name="connsiteX184" fmla="*/ 1254307 w 1254307"/>
                <a:gd name="connsiteY184" fmla="*/ 150455 h 298698"/>
                <a:gd name="connsiteX185" fmla="*/ 1254307 w 1254307"/>
                <a:gd name="connsiteY185" fmla="*/ 262179 h 298698"/>
                <a:gd name="connsiteX186" fmla="*/ 1239410 w 1254307"/>
                <a:gd name="connsiteY186" fmla="*/ 262179 h 298698"/>
                <a:gd name="connsiteX187" fmla="*/ 1239410 w 1254307"/>
                <a:gd name="connsiteY187" fmla="*/ 255476 h 298698"/>
                <a:gd name="connsiteX188" fmla="*/ 1237921 w 1254307"/>
                <a:gd name="connsiteY188" fmla="*/ 256593 h 298698"/>
                <a:gd name="connsiteX189" fmla="*/ 1215576 w 1254307"/>
                <a:gd name="connsiteY189" fmla="*/ 264414 h 298698"/>
                <a:gd name="connsiteX190" fmla="*/ 1178707 w 1254307"/>
                <a:gd name="connsiteY190" fmla="*/ 222331 h 298698"/>
                <a:gd name="connsiteX191" fmla="*/ 1218555 w 1254307"/>
                <a:gd name="connsiteY191" fmla="*/ 177641 h 298698"/>
                <a:gd name="connsiteX192" fmla="*/ 1235686 w 1254307"/>
                <a:gd name="connsiteY192" fmla="*/ 181738 h 298698"/>
                <a:gd name="connsiteX193" fmla="*/ 1236804 w 1254307"/>
                <a:gd name="connsiteY193" fmla="*/ 182483 h 298698"/>
                <a:gd name="connsiteX194" fmla="*/ 1236804 w 1254307"/>
                <a:gd name="connsiteY194" fmla="*/ 181365 h 298698"/>
                <a:gd name="connsiteX195" fmla="*/ 1236804 w 1254307"/>
                <a:gd name="connsiteY195" fmla="*/ 150827 h 298698"/>
                <a:gd name="connsiteX196" fmla="*/ 373177 w 1254307"/>
                <a:gd name="connsiteY196" fmla="*/ 150455 h 298698"/>
                <a:gd name="connsiteX197" fmla="*/ 424942 w 1254307"/>
                <a:gd name="connsiteY197" fmla="*/ 206689 h 298698"/>
                <a:gd name="connsiteX198" fmla="*/ 372804 w 1254307"/>
                <a:gd name="connsiteY198" fmla="*/ 264786 h 298698"/>
                <a:gd name="connsiteX199" fmla="*/ 321039 w 1254307"/>
                <a:gd name="connsiteY199" fmla="*/ 207434 h 298698"/>
                <a:gd name="connsiteX200" fmla="*/ 373177 w 1254307"/>
                <a:gd name="connsiteY200" fmla="*/ 150455 h 298698"/>
                <a:gd name="connsiteX201" fmla="*/ 388446 w 1254307"/>
                <a:gd name="connsiteY201" fmla="*/ 123269 h 298698"/>
                <a:gd name="connsiteX202" fmla="*/ 397756 w 1254307"/>
                <a:gd name="connsiteY202" fmla="*/ 133697 h 298698"/>
                <a:gd name="connsiteX203" fmla="*/ 388446 w 1254307"/>
                <a:gd name="connsiteY203" fmla="*/ 143007 h 298698"/>
                <a:gd name="connsiteX204" fmla="*/ 379135 w 1254307"/>
                <a:gd name="connsiteY204" fmla="*/ 132579 h 298698"/>
                <a:gd name="connsiteX205" fmla="*/ 388446 w 1254307"/>
                <a:gd name="connsiteY205" fmla="*/ 123269 h 298698"/>
                <a:gd name="connsiteX206" fmla="*/ 357163 w 1254307"/>
                <a:gd name="connsiteY206" fmla="*/ 123269 h 298698"/>
                <a:gd name="connsiteX207" fmla="*/ 367218 w 1254307"/>
                <a:gd name="connsiteY207" fmla="*/ 132952 h 298698"/>
                <a:gd name="connsiteX208" fmla="*/ 367218 w 1254307"/>
                <a:gd name="connsiteY208" fmla="*/ 133324 h 298698"/>
                <a:gd name="connsiteX209" fmla="*/ 357535 w 1254307"/>
                <a:gd name="connsiteY209" fmla="*/ 143007 h 298698"/>
                <a:gd name="connsiteX210" fmla="*/ 347480 w 1254307"/>
                <a:gd name="connsiteY210" fmla="*/ 133324 h 298698"/>
                <a:gd name="connsiteX211" fmla="*/ 357163 w 1254307"/>
                <a:gd name="connsiteY211" fmla="*/ 123269 h 298698"/>
                <a:gd name="connsiteX212" fmla="*/ 465535 w 1254307"/>
                <a:gd name="connsiteY212" fmla="*/ 61820 h 298698"/>
                <a:gd name="connsiteX213" fmla="*/ 450266 w 1254307"/>
                <a:gd name="connsiteY213" fmla="*/ 79324 h 298698"/>
                <a:gd name="connsiteX214" fmla="*/ 464045 w 1254307"/>
                <a:gd name="connsiteY214" fmla="*/ 95710 h 298698"/>
                <a:gd name="connsiteX215" fmla="*/ 474845 w 1254307"/>
                <a:gd name="connsiteY215" fmla="*/ 91986 h 298698"/>
                <a:gd name="connsiteX216" fmla="*/ 474845 w 1254307"/>
                <a:gd name="connsiteY216" fmla="*/ 63683 h 298698"/>
                <a:gd name="connsiteX217" fmla="*/ 474473 w 1254307"/>
                <a:gd name="connsiteY217" fmla="*/ 63683 h 298698"/>
                <a:gd name="connsiteX218" fmla="*/ 465535 w 1254307"/>
                <a:gd name="connsiteY218" fmla="*/ 61820 h 298698"/>
                <a:gd name="connsiteX219" fmla="*/ 546721 w 1254307"/>
                <a:gd name="connsiteY219" fmla="*/ 61448 h 298698"/>
                <a:gd name="connsiteX220" fmla="*/ 532942 w 1254307"/>
                <a:gd name="connsiteY220" fmla="*/ 78952 h 298698"/>
                <a:gd name="connsiteX221" fmla="*/ 547094 w 1254307"/>
                <a:gd name="connsiteY221" fmla="*/ 96828 h 298698"/>
                <a:gd name="connsiteX222" fmla="*/ 560873 w 1254307"/>
                <a:gd name="connsiteY222" fmla="*/ 79324 h 298698"/>
                <a:gd name="connsiteX223" fmla="*/ 546721 w 1254307"/>
                <a:gd name="connsiteY223" fmla="*/ 61448 h 298698"/>
                <a:gd name="connsiteX224" fmla="*/ 409301 w 1254307"/>
                <a:gd name="connsiteY224" fmla="*/ 61076 h 298698"/>
                <a:gd name="connsiteX225" fmla="*/ 395894 w 1254307"/>
                <a:gd name="connsiteY225" fmla="*/ 74483 h 298698"/>
                <a:gd name="connsiteX226" fmla="*/ 395894 w 1254307"/>
                <a:gd name="connsiteY226" fmla="*/ 75228 h 298698"/>
                <a:gd name="connsiteX227" fmla="*/ 420474 w 1254307"/>
                <a:gd name="connsiteY227" fmla="*/ 75228 h 298698"/>
                <a:gd name="connsiteX228" fmla="*/ 420474 w 1254307"/>
                <a:gd name="connsiteY228" fmla="*/ 74483 h 298698"/>
                <a:gd name="connsiteX229" fmla="*/ 409301 w 1254307"/>
                <a:gd name="connsiteY229" fmla="*/ 61076 h 298698"/>
                <a:gd name="connsiteX230" fmla="*/ 500170 w 1254307"/>
                <a:gd name="connsiteY230" fmla="*/ 57724 h 298698"/>
                <a:gd name="connsiteX231" fmla="*/ 509853 w 1254307"/>
                <a:gd name="connsiteY231" fmla="*/ 57724 h 298698"/>
                <a:gd name="connsiteX232" fmla="*/ 509853 w 1254307"/>
                <a:gd name="connsiteY232" fmla="*/ 103531 h 298698"/>
                <a:gd name="connsiteX233" fmla="*/ 500170 w 1254307"/>
                <a:gd name="connsiteY233" fmla="*/ 103531 h 298698"/>
                <a:gd name="connsiteX234" fmla="*/ 606680 w 1254307"/>
                <a:gd name="connsiteY234" fmla="*/ 54000 h 298698"/>
                <a:gd name="connsiteX235" fmla="*/ 618597 w 1254307"/>
                <a:gd name="connsiteY235" fmla="*/ 58469 h 298698"/>
                <a:gd name="connsiteX236" fmla="*/ 623439 w 1254307"/>
                <a:gd name="connsiteY236" fmla="*/ 76345 h 298698"/>
                <a:gd name="connsiteX237" fmla="*/ 623439 w 1254307"/>
                <a:gd name="connsiteY237" fmla="*/ 103904 h 298698"/>
                <a:gd name="connsiteX238" fmla="*/ 614128 w 1254307"/>
                <a:gd name="connsiteY238" fmla="*/ 103904 h 298698"/>
                <a:gd name="connsiteX239" fmla="*/ 614128 w 1254307"/>
                <a:gd name="connsiteY239" fmla="*/ 103531 h 298698"/>
                <a:gd name="connsiteX240" fmla="*/ 614128 w 1254307"/>
                <a:gd name="connsiteY240" fmla="*/ 77090 h 298698"/>
                <a:gd name="connsiteX241" fmla="*/ 611521 w 1254307"/>
                <a:gd name="connsiteY241" fmla="*/ 64428 h 298698"/>
                <a:gd name="connsiteX242" fmla="*/ 604818 w 1254307"/>
                <a:gd name="connsiteY242" fmla="*/ 62193 h 298698"/>
                <a:gd name="connsiteX243" fmla="*/ 593273 w 1254307"/>
                <a:gd name="connsiteY243" fmla="*/ 65917 h 298698"/>
                <a:gd name="connsiteX244" fmla="*/ 592901 w 1254307"/>
                <a:gd name="connsiteY244" fmla="*/ 65917 h 298698"/>
                <a:gd name="connsiteX245" fmla="*/ 592901 w 1254307"/>
                <a:gd name="connsiteY245" fmla="*/ 103531 h 298698"/>
                <a:gd name="connsiteX246" fmla="*/ 583218 w 1254307"/>
                <a:gd name="connsiteY246" fmla="*/ 103531 h 298698"/>
                <a:gd name="connsiteX247" fmla="*/ 583218 w 1254307"/>
                <a:gd name="connsiteY247" fmla="*/ 55490 h 298698"/>
                <a:gd name="connsiteX248" fmla="*/ 591411 w 1254307"/>
                <a:gd name="connsiteY248" fmla="*/ 55490 h 298698"/>
                <a:gd name="connsiteX249" fmla="*/ 591411 w 1254307"/>
                <a:gd name="connsiteY249" fmla="*/ 59586 h 298698"/>
                <a:gd name="connsiteX250" fmla="*/ 592528 w 1254307"/>
                <a:gd name="connsiteY250" fmla="*/ 58842 h 298698"/>
                <a:gd name="connsiteX251" fmla="*/ 606680 w 1254307"/>
                <a:gd name="connsiteY251" fmla="*/ 54000 h 298698"/>
                <a:gd name="connsiteX252" fmla="*/ 547094 w 1254307"/>
                <a:gd name="connsiteY252" fmla="*/ 54000 h 298698"/>
                <a:gd name="connsiteX253" fmla="*/ 570183 w 1254307"/>
                <a:gd name="connsiteY253" fmla="*/ 79324 h 298698"/>
                <a:gd name="connsiteX254" fmla="*/ 545977 w 1254307"/>
                <a:gd name="connsiteY254" fmla="*/ 105021 h 298698"/>
                <a:gd name="connsiteX255" fmla="*/ 522887 w 1254307"/>
                <a:gd name="connsiteY255" fmla="*/ 79697 h 298698"/>
                <a:gd name="connsiteX256" fmla="*/ 547094 w 1254307"/>
                <a:gd name="connsiteY256" fmla="*/ 54000 h 298698"/>
                <a:gd name="connsiteX257" fmla="*/ 409301 w 1254307"/>
                <a:gd name="connsiteY257" fmla="*/ 54000 h 298698"/>
                <a:gd name="connsiteX258" fmla="*/ 429412 w 1254307"/>
                <a:gd name="connsiteY258" fmla="*/ 78579 h 298698"/>
                <a:gd name="connsiteX259" fmla="*/ 429412 w 1254307"/>
                <a:gd name="connsiteY259" fmla="*/ 81186 h 298698"/>
                <a:gd name="connsiteX260" fmla="*/ 429412 w 1254307"/>
                <a:gd name="connsiteY260" fmla="*/ 81931 h 298698"/>
                <a:gd name="connsiteX261" fmla="*/ 395894 w 1254307"/>
                <a:gd name="connsiteY261" fmla="*/ 81931 h 298698"/>
                <a:gd name="connsiteX262" fmla="*/ 395894 w 1254307"/>
                <a:gd name="connsiteY262" fmla="*/ 82676 h 298698"/>
                <a:gd name="connsiteX263" fmla="*/ 395894 w 1254307"/>
                <a:gd name="connsiteY263" fmla="*/ 84166 h 298698"/>
                <a:gd name="connsiteX264" fmla="*/ 410791 w 1254307"/>
                <a:gd name="connsiteY264" fmla="*/ 97200 h 298698"/>
                <a:gd name="connsiteX265" fmla="*/ 424198 w 1254307"/>
                <a:gd name="connsiteY265" fmla="*/ 93476 h 298698"/>
                <a:gd name="connsiteX266" fmla="*/ 427549 w 1254307"/>
                <a:gd name="connsiteY266" fmla="*/ 99807 h 298698"/>
                <a:gd name="connsiteX267" fmla="*/ 410046 w 1254307"/>
                <a:gd name="connsiteY267" fmla="*/ 104648 h 298698"/>
                <a:gd name="connsiteX268" fmla="*/ 386584 w 1254307"/>
                <a:gd name="connsiteY268" fmla="*/ 79697 h 298698"/>
                <a:gd name="connsiteX269" fmla="*/ 409301 w 1254307"/>
                <a:gd name="connsiteY269" fmla="*/ 54000 h 298698"/>
                <a:gd name="connsiteX270" fmla="*/ 465907 w 1254307"/>
                <a:gd name="connsiteY270" fmla="*/ 53627 h 298698"/>
                <a:gd name="connsiteX271" fmla="*/ 484528 w 1254307"/>
                <a:gd name="connsiteY271" fmla="*/ 58469 h 298698"/>
                <a:gd name="connsiteX272" fmla="*/ 484528 w 1254307"/>
                <a:gd name="connsiteY272" fmla="*/ 103531 h 298698"/>
                <a:gd name="connsiteX273" fmla="*/ 479686 w 1254307"/>
                <a:gd name="connsiteY273" fmla="*/ 120662 h 298698"/>
                <a:gd name="connsiteX274" fmla="*/ 462555 w 1254307"/>
                <a:gd name="connsiteY274" fmla="*/ 126620 h 298698"/>
                <a:gd name="connsiteX275" fmla="*/ 442445 w 1254307"/>
                <a:gd name="connsiteY275" fmla="*/ 120289 h 298698"/>
                <a:gd name="connsiteX276" fmla="*/ 446542 w 1254307"/>
                <a:gd name="connsiteY276" fmla="*/ 113958 h 298698"/>
                <a:gd name="connsiteX277" fmla="*/ 461438 w 1254307"/>
                <a:gd name="connsiteY277" fmla="*/ 119172 h 298698"/>
                <a:gd name="connsiteX278" fmla="*/ 471121 w 1254307"/>
                <a:gd name="connsiteY278" fmla="*/ 115448 h 298698"/>
                <a:gd name="connsiteX279" fmla="*/ 474845 w 1254307"/>
                <a:gd name="connsiteY279" fmla="*/ 103531 h 298698"/>
                <a:gd name="connsiteX280" fmla="*/ 474845 w 1254307"/>
                <a:gd name="connsiteY280" fmla="*/ 99807 h 298698"/>
                <a:gd name="connsiteX281" fmla="*/ 473728 w 1254307"/>
                <a:gd name="connsiteY281" fmla="*/ 100179 h 298698"/>
                <a:gd name="connsiteX282" fmla="*/ 473355 w 1254307"/>
                <a:gd name="connsiteY282" fmla="*/ 100551 h 298698"/>
                <a:gd name="connsiteX283" fmla="*/ 461811 w 1254307"/>
                <a:gd name="connsiteY283" fmla="*/ 103531 h 298698"/>
                <a:gd name="connsiteX284" fmla="*/ 440583 w 1254307"/>
                <a:gd name="connsiteY284" fmla="*/ 79696 h 298698"/>
                <a:gd name="connsiteX285" fmla="*/ 440583 w 1254307"/>
                <a:gd name="connsiteY285" fmla="*/ 77834 h 298698"/>
                <a:gd name="connsiteX286" fmla="*/ 465907 w 1254307"/>
                <a:gd name="connsiteY286" fmla="*/ 53627 h 298698"/>
                <a:gd name="connsiteX287" fmla="*/ 342267 w 1254307"/>
                <a:gd name="connsiteY287" fmla="*/ 45807 h 298698"/>
                <a:gd name="connsiteX288" fmla="*/ 342267 w 1254307"/>
                <a:gd name="connsiteY288" fmla="*/ 68152 h 298698"/>
                <a:gd name="connsiteX289" fmla="*/ 347480 w 1254307"/>
                <a:gd name="connsiteY289" fmla="*/ 68152 h 298698"/>
                <a:gd name="connsiteX290" fmla="*/ 360887 w 1254307"/>
                <a:gd name="connsiteY290" fmla="*/ 64800 h 298698"/>
                <a:gd name="connsiteX291" fmla="*/ 361260 w 1254307"/>
                <a:gd name="connsiteY291" fmla="*/ 48786 h 298698"/>
                <a:gd name="connsiteX292" fmla="*/ 350832 w 1254307"/>
                <a:gd name="connsiteY292" fmla="*/ 45807 h 298698"/>
                <a:gd name="connsiteX293" fmla="*/ 505011 w 1254307"/>
                <a:gd name="connsiteY293" fmla="*/ 37986 h 298698"/>
                <a:gd name="connsiteX294" fmla="*/ 510969 w 1254307"/>
                <a:gd name="connsiteY294" fmla="*/ 43945 h 298698"/>
                <a:gd name="connsiteX295" fmla="*/ 505011 w 1254307"/>
                <a:gd name="connsiteY295" fmla="*/ 49531 h 298698"/>
                <a:gd name="connsiteX296" fmla="*/ 499052 w 1254307"/>
                <a:gd name="connsiteY296" fmla="*/ 43945 h 298698"/>
                <a:gd name="connsiteX297" fmla="*/ 505011 w 1254307"/>
                <a:gd name="connsiteY297" fmla="*/ 37986 h 298698"/>
                <a:gd name="connsiteX298" fmla="*/ 331839 w 1254307"/>
                <a:gd name="connsiteY298" fmla="*/ 37614 h 298698"/>
                <a:gd name="connsiteX299" fmla="*/ 348970 w 1254307"/>
                <a:gd name="connsiteY299" fmla="*/ 37614 h 298698"/>
                <a:gd name="connsiteX300" fmla="*/ 368708 w 1254307"/>
                <a:gd name="connsiteY300" fmla="*/ 42828 h 298698"/>
                <a:gd name="connsiteX301" fmla="*/ 373922 w 1254307"/>
                <a:gd name="connsiteY301" fmla="*/ 55862 h 298698"/>
                <a:gd name="connsiteX302" fmla="*/ 369825 w 1254307"/>
                <a:gd name="connsiteY302" fmla="*/ 67407 h 298698"/>
                <a:gd name="connsiteX303" fmla="*/ 359025 w 1254307"/>
                <a:gd name="connsiteY303" fmla="*/ 72621 h 298698"/>
                <a:gd name="connsiteX304" fmla="*/ 365729 w 1254307"/>
                <a:gd name="connsiteY304" fmla="*/ 76345 h 298698"/>
                <a:gd name="connsiteX305" fmla="*/ 370198 w 1254307"/>
                <a:gd name="connsiteY305" fmla="*/ 84538 h 298698"/>
                <a:gd name="connsiteX306" fmla="*/ 378391 w 1254307"/>
                <a:gd name="connsiteY306" fmla="*/ 103531 h 298698"/>
                <a:gd name="connsiteX307" fmla="*/ 367591 w 1254307"/>
                <a:gd name="connsiteY307" fmla="*/ 103531 h 298698"/>
                <a:gd name="connsiteX308" fmla="*/ 359770 w 1254307"/>
                <a:gd name="connsiteY308" fmla="*/ 86028 h 298698"/>
                <a:gd name="connsiteX309" fmla="*/ 345246 w 1254307"/>
                <a:gd name="connsiteY309" fmla="*/ 75973 h 298698"/>
                <a:gd name="connsiteX310" fmla="*/ 341894 w 1254307"/>
                <a:gd name="connsiteY310" fmla="*/ 75973 h 298698"/>
                <a:gd name="connsiteX311" fmla="*/ 341894 w 1254307"/>
                <a:gd name="connsiteY311" fmla="*/ 103531 h 298698"/>
                <a:gd name="connsiteX312" fmla="*/ 331839 w 1254307"/>
                <a:gd name="connsiteY312" fmla="*/ 103531 h 298698"/>
                <a:gd name="connsiteX313" fmla="*/ 131481 w 1254307"/>
                <a:gd name="connsiteY313" fmla="*/ 12290 h 298698"/>
                <a:gd name="connsiteX314" fmla="*/ 113605 w 1254307"/>
                <a:gd name="connsiteY314" fmla="*/ 36869 h 298698"/>
                <a:gd name="connsiteX315" fmla="*/ 96846 w 1254307"/>
                <a:gd name="connsiteY315" fmla="*/ 17876 h 298698"/>
                <a:gd name="connsiteX316" fmla="*/ 92377 w 1254307"/>
                <a:gd name="connsiteY316" fmla="*/ 52883 h 298698"/>
                <a:gd name="connsiteX317" fmla="*/ 60722 w 1254307"/>
                <a:gd name="connsiteY317" fmla="*/ 38731 h 298698"/>
                <a:gd name="connsiteX318" fmla="*/ 67798 w 1254307"/>
                <a:gd name="connsiteY318" fmla="*/ 62938 h 298698"/>
                <a:gd name="connsiteX319" fmla="*/ 38005 w 1254307"/>
                <a:gd name="connsiteY319" fmla="*/ 65917 h 298698"/>
                <a:gd name="connsiteX320" fmla="*/ 64446 w 1254307"/>
                <a:gd name="connsiteY320" fmla="*/ 80069 h 298698"/>
                <a:gd name="connsiteX321" fmla="*/ 90888 w 1254307"/>
                <a:gd name="connsiteY321" fmla="*/ 91614 h 298698"/>
                <a:gd name="connsiteX322" fmla="*/ 134460 w 1254307"/>
                <a:gd name="connsiteY322" fmla="*/ 141145 h 298698"/>
                <a:gd name="connsiteX323" fmla="*/ 69288 w 1254307"/>
                <a:gd name="connsiteY323" fmla="*/ 128483 h 298698"/>
                <a:gd name="connsiteX324" fmla="*/ 45826 w 1254307"/>
                <a:gd name="connsiteY324" fmla="*/ 111352 h 298698"/>
                <a:gd name="connsiteX325" fmla="*/ 20874 w 1254307"/>
                <a:gd name="connsiteY325" fmla="*/ 96083 h 298698"/>
                <a:gd name="connsiteX326" fmla="*/ 32791 w 1254307"/>
                <a:gd name="connsiteY326" fmla="*/ 123641 h 298698"/>
                <a:gd name="connsiteX327" fmla="*/ 8957 w 1254307"/>
                <a:gd name="connsiteY327" fmla="*/ 128483 h 298698"/>
                <a:gd name="connsiteX328" fmla="*/ 37260 w 1254307"/>
                <a:gd name="connsiteY328" fmla="*/ 149710 h 298698"/>
                <a:gd name="connsiteX329" fmla="*/ 8957 w 1254307"/>
                <a:gd name="connsiteY329" fmla="*/ 170938 h 298698"/>
                <a:gd name="connsiteX330" fmla="*/ 32791 w 1254307"/>
                <a:gd name="connsiteY330" fmla="*/ 175779 h 298698"/>
                <a:gd name="connsiteX331" fmla="*/ 20874 w 1254307"/>
                <a:gd name="connsiteY331" fmla="*/ 203338 h 298698"/>
                <a:gd name="connsiteX332" fmla="*/ 45453 w 1254307"/>
                <a:gd name="connsiteY332" fmla="*/ 188069 h 298698"/>
                <a:gd name="connsiteX333" fmla="*/ 68915 w 1254307"/>
                <a:gd name="connsiteY333" fmla="*/ 170566 h 298698"/>
                <a:gd name="connsiteX334" fmla="*/ 134088 w 1254307"/>
                <a:gd name="connsiteY334" fmla="*/ 157903 h 298698"/>
                <a:gd name="connsiteX335" fmla="*/ 90515 w 1254307"/>
                <a:gd name="connsiteY335" fmla="*/ 207434 h 298698"/>
                <a:gd name="connsiteX336" fmla="*/ 64074 w 1254307"/>
                <a:gd name="connsiteY336" fmla="*/ 218979 h 298698"/>
                <a:gd name="connsiteX337" fmla="*/ 37633 w 1254307"/>
                <a:gd name="connsiteY337" fmla="*/ 233131 h 298698"/>
                <a:gd name="connsiteX338" fmla="*/ 67426 w 1254307"/>
                <a:gd name="connsiteY338" fmla="*/ 236110 h 298698"/>
                <a:gd name="connsiteX339" fmla="*/ 58860 w 1254307"/>
                <a:gd name="connsiteY339" fmla="*/ 259572 h 298698"/>
                <a:gd name="connsiteX340" fmla="*/ 91260 w 1254307"/>
                <a:gd name="connsiteY340" fmla="*/ 246166 h 298698"/>
                <a:gd name="connsiteX341" fmla="*/ 96102 w 1254307"/>
                <a:gd name="connsiteY341" fmla="*/ 280800 h 298698"/>
                <a:gd name="connsiteX342" fmla="*/ 112488 w 1254307"/>
                <a:gd name="connsiteY342" fmla="*/ 261807 h 298698"/>
                <a:gd name="connsiteX343" fmla="*/ 130364 w 1254307"/>
                <a:gd name="connsiteY343" fmla="*/ 286386 h 298698"/>
                <a:gd name="connsiteX344" fmla="*/ 129619 w 1254307"/>
                <a:gd name="connsiteY344" fmla="*/ 256593 h 298698"/>
                <a:gd name="connsiteX345" fmla="*/ 126639 w 1254307"/>
                <a:gd name="connsiteY345" fmla="*/ 228290 h 298698"/>
                <a:gd name="connsiteX346" fmla="*/ 147867 w 1254307"/>
                <a:gd name="connsiteY346" fmla="*/ 165724 h 298698"/>
                <a:gd name="connsiteX347" fmla="*/ 169095 w 1254307"/>
                <a:gd name="connsiteY347" fmla="*/ 228290 h 298698"/>
                <a:gd name="connsiteX348" fmla="*/ 166115 w 1254307"/>
                <a:gd name="connsiteY348" fmla="*/ 256593 h 298698"/>
                <a:gd name="connsiteX349" fmla="*/ 165370 w 1254307"/>
                <a:gd name="connsiteY349" fmla="*/ 286386 h 298698"/>
                <a:gd name="connsiteX350" fmla="*/ 183246 w 1254307"/>
                <a:gd name="connsiteY350" fmla="*/ 261807 h 298698"/>
                <a:gd name="connsiteX351" fmla="*/ 199632 w 1254307"/>
                <a:gd name="connsiteY351" fmla="*/ 280800 h 298698"/>
                <a:gd name="connsiteX352" fmla="*/ 204474 w 1254307"/>
                <a:gd name="connsiteY352" fmla="*/ 246166 h 298698"/>
                <a:gd name="connsiteX353" fmla="*/ 236874 w 1254307"/>
                <a:gd name="connsiteY353" fmla="*/ 259572 h 298698"/>
                <a:gd name="connsiteX354" fmla="*/ 229053 w 1254307"/>
                <a:gd name="connsiteY354" fmla="*/ 236110 h 298698"/>
                <a:gd name="connsiteX355" fmla="*/ 258846 w 1254307"/>
                <a:gd name="connsiteY355" fmla="*/ 233131 h 298698"/>
                <a:gd name="connsiteX356" fmla="*/ 232405 w 1254307"/>
                <a:gd name="connsiteY356" fmla="*/ 218979 h 298698"/>
                <a:gd name="connsiteX357" fmla="*/ 205963 w 1254307"/>
                <a:gd name="connsiteY357" fmla="*/ 207434 h 298698"/>
                <a:gd name="connsiteX358" fmla="*/ 162391 w 1254307"/>
                <a:gd name="connsiteY358" fmla="*/ 157903 h 298698"/>
                <a:gd name="connsiteX359" fmla="*/ 227563 w 1254307"/>
                <a:gd name="connsiteY359" fmla="*/ 170566 h 298698"/>
                <a:gd name="connsiteX360" fmla="*/ 251025 w 1254307"/>
                <a:gd name="connsiteY360" fmla="*/ 187697 h 298698"/>
                <a:gd name="connsiteX361" fmla="*/ 275977 w 1254307"/>
                <a:gd name="connsiteY361" fmla="*/ 202966 h 298698"/>
                <a:gd name="connsiteX362" fmla="*/ 264060 w 1254307"/>
                <a:gd name="connsiteY362" fmla="*/ 175407 h 298698"/>
                <a:gd name="connsiteX363" fmla="*/ 289384 w 1254307"/>
                <a:gd name="connsiteY363" fmla="*/ 170938 h 298698"/>
                <a:gd name="connsiteX364" fmla="*/ 261081 w 1254307"/>
                <a:gd name="connsiteY364" fmla="*/ 149710 h 298698"/>
                <a:gd name="connsiteX365" fmla="*/ 289384 w 1254307"/>
                <a:gd name="connsiteY365" fmla="*/ 128483 h 298698"/>
                <a:gd name="connsiteX366" fmla="*/ 265550 w 1254307"/>
                <a:gd name="connsiteY366" fmla="*/ 123641 h 298698"/>
                <a:gd name="connsiteX367" fmla="*/ 277467 w 1254307"/>
                <a:gd name="connsiteY367" fmla="*/ 96083 h 298698"/>
                <a:gd name="connsiteX368" fmla="*/ 252515 w 1254307"/>
                <a:gd name="connsiteY368" fmla="*/ 111352 h 298698"/>
                <a:gd name="connsiteX369" fmla="*/ 229053 w 1254307"/>
                <a:gd name="connsiteY369" fmla="*/ 128483 h 298698"/>
                <a:gd name="connsiteX370" fmla="*/ 163881 w 1254307"/>
                <a:gd name="connsiteY370" fmla="*/ 141145 h 298698"/>
                <a:gd name="connsiteX371" fmla="*/ 207453 w 1254307"/>
                <a:gd name="connsiteY371" fmla="*/ 91614 h 298698"/>
                <a:gd name="connsiteX372" fmla="*/ 233894 w 1254307"/>
                <a:gd name="connsiteY372" fmla="*/ 80069 h 298698"/>
                <a:gd name="connsiteX373" fmla="*/ 260336 w 1254307"/>
                <a:gd name="connsiteY373" fmla="*/ 65917 h 298698"/>
                <a:gd name="connsiteX374" fmla="*/ 230543 w 1254307"/>
                <a:gd name="connsiteY374" fmla="*/ 62938 h 298698"/>
                <a:gd name="connsiteX375" fmla="*/ 237619 w 1254307"/>
                <a:gd name="connsiteY375" fmla="*/ 38731 h 298698"/>
                <a:gd name="connsiteX376" fmla="*/ 205963 w 1254307"/>
                <a:gd name="connsiteY376" fmla="*/ 52883 h 298698"/>
                <a:gd name="connsiteX377" fmla="*/ 201495 w 1254307"/>
                <a:gd name="connsiteY377" fmla="*/ 17876 h 298698"/>
                <a:gd name="connsiteX378" fmla="*/ 184363 w 1254307"/>
                <a:gd name="connsiteY378" fmla="*/ 36869 h 298698"/>
                <a:gd name="connsiteX379" fmla="*/ 166488 w 1254307"/>
                <a:gd name="connsiteY379" fmla="*/ 12290 h 298698"/>
                <a:gd name="connsiteX380" fmla="*/ 167232 w 1254307"/>
                <a:gd name="connsiteY380" fmla="*/ 42083 h 298698"/>
                <a:gd name="connsiteX381" fmla="*/ 170212 w 1254307"/>
                <a:gd name="connsiteY381" fmla="*/ 70386 h 298698"/>
                <a:gd name="connsiteX382" fmla="*/ 148984 w 1254307"/>
                <a:gd name="connsiteY382" fmla="*/ 132952 h 298698"/>
                <a:gd name="connsiteX383" fmla="*/ 127757 w 1254307"/>
                <a:gd name="connsiteY383" fmla="*/ 70386 h 298698"/>
                <a:gd name="connsiteX384" fmla="*/ 130736 w 1254307"/>
                <a:gd name="connsiteY384" fmla="*/ 42083 h 298698"/>
                <a:gd name="connsiteX385" fmla="*/ 131481 w 1254307"/>
                <a:gd name="connsiteY385" fmla="*/ 12290 h 298698"/>
                <a:gd name="connsiteX386" fmla="*/ 134833 w 1254307"/>
                <a:gd name="connsiteY386" fmla="*/ 0 h 298698"/>
                <a:gd name="connsiteX387" fmla="*/ 134833 w 1254307"/>
                <a:gd name="connsiteY387" fmla="*/ 67779 h 298698"/>
                <a:gd name="connsiteX388" fmla="*/ 148239 w 1254307"/>
                <a:gd name="connsiteY388" fmla="*/ 107255 h 298698"/>
                <a:gd name="connsiteX389" fmla="*/ 161646 w 1254307"/>
                <a:gd name="connsiteY389" fmla="*/ 67779 h 298698"/>
                <a:gd name="connsiteX390" fmla="*/ 161646 w 1254307"/>
                <a:gd name="connsiteY390" fmla="*/ 0 h 298698"/>
                <a:gd name="connsiteX391" fmla="*/ 184363 w 1254307"/>
                <a:gd name="connsiteY391" fmla="*/ 19738 h 298698"/>
                <a:gd name="connsiteX392" fmla="*/ 202612 w 1254307"/>
                <a:gd name="connsiteY392" fmla="*/ 9310 h 298698"/>
                <a:gd name="connsiteX393" fmla="*/ 214901 w 1254307"/>
                <a:gd name="connsiteY393" fmla="*/ 34634 h 298698"/>
                <a:gd name="connsiteX394" fmla="*/ 242088 w 1254307"/>
                <a:gd name="connsiteY394" fmla="*/ 32400 h 298698"/>
                <a:gd name="connsiteX395" fmla="*/ 242832 w 1254307"/>
                <a:gd name="connsiteY395" fmla="*/ 53255 h 298698"/>
                <a:gd name="connsiteX396" fmla="*/ 271136 w 1254307"/>
                <a:gd name="connsiteY396" fmla="*/ 62938 h 298698"/>
                <a:gd name="connsiteX397" fmla="*/ 212294 w 1254307"/>
                <a:gd name="connsiteY397" fmla="*/ 96828 h 298698"/>
                <a:gd name="connsiteX398" fmla="*/ 184736 w 1254307"/>
                <a:gd name="connsiteY398" fmla="*/ 128110 h 298698"/>
                <a:gd name="connsiteX399" fmla="*/ 226074 w 1254307"/>
                <a:gd name="connsiteY399" fmla="*/ 119917 h 298698"/>
                <a:gd name="connsiteX400" fmla="*/ 284543 w 1254307"/>
                <a:gd name="connsiteY400" fmla="*/ 85655 h 298698"/>
                <a:gd name="connsiteX401" fmla="*/ 279329 w 1254307"/>
                <a:gd name="connsiteY401" fmla="*/ 115448 h 298698"/>
                <a:gd name="connsiteX402" fmla="*/ 296460 w 1254307"/>
                <a:gd name="connsiteY402" fmla="*/ 125876 h 298698"/>
                <a:gd name="connsiteX403" fmla="*/ 280074 w 1254307"/>
                <a:gd name="connsiteY403" fmla="*/ 149338 h 298698"/>
                <a:gd name="connsiteX404" fmla="*/ 296460 w 1254307"/>
                <a:gd name="connsiteY404" fmla="*/ 173172 h 298698"/>
                <a:gd name="connsiteX405" fmla="*/ 279329 w 1254307"/>
                <a:gd name="connsiteY405" fmla="*/ 183600 h 298698"/>
                <a:gd name="connsiteX406" fmla="*/ 284543 w 1254307"/>
                <a:gd name="connsiteY406" fmla="*/ 213393 h 298698"/>
                <a:gd name="connsiteX407" fmla="*/ 226074 w 1254307"/>
                <a:gd name="connsiteY407" fmla="*/ 179131 h 298698"/>
                <a:gd name="connsiteX408" fmla="*/ 184736 w 1254307"/>
                <a:gd name="connsiteY408" fmla="*/ 170938 h 298698"/>
                <a:gd name="connsiteX409" fmla="*/ 212294 w 1254307"/>
                <a:gd name="connsiteY409" fmla="*/ 202221 h 298698"/>
                <a:gd name="connsiteX410" fmla="*/ 271136 w 1254307"/>
                <a:gd name="connsiteY410" fmla="*/ 236110 h 298698"/>
                <a:gd name="connsiteX411" fmla="*/ 243205 w 1254307"/>
                <a:gd name="connsiteY411" fmla="*/ 245793 h 298698"/>
                <a:gd name="connsiteX412" fmla="*/ 243205 w 1254307"/>
                <a:gd name="connsiteY412" fmla="*/ 265903 h 298698"/>
                <a:gd name="connsiteX413" fmla="*/ 214901 w 1254307"/>
                <a:gd name="connsiteY413" fmla="*/ 264041 h 298698"/>
                <a:gd name="connsiteX414" fmla="*/ 202239 w 1254307"/>
                <a:gd name="connsiteY414" fmla="*/ 289366 h 298698"/>
                <a:gd name="connsiteX415" fmla="*/ 184363 w 1254307"/>
                <a:gd name="connsiteY415" fmla="*/ 278938 h 298698"/>
                <a:gd name="connsiteX416" fmla="*/ 161646 w 1254307"/>
                <a:gd name="connsiteY416" fmla="*/ 298676 h 298698"/>
                <a:gd name="connsiteX417" fmla="*/ 161646 w 1254307"/>
                <a:gd name="connsiteY417" fmla="*/ 230897 h 298698"/>
                <a:gd name="connsiteX418" fmla="*/ 148239 w 1254307"/>
                <a:gd name="connsiteY418" fmla="*/ 191421 h 298698"/>
                <a:gd name="connsiteX419" fmla="*/ 134833 w 1254307"/>
                <a:gd name="connsiteY419" fmla="*/ 230897 h 298698"/>
                <a:gd name="connsiteX420" fmla="*/ 134833 w 1254307"/>
                <a:gd name="connsiteY420" fmla="*/ 298676 h 298698"/>
                <a:gd name="connsiteX421" fmla="*/ 112115 w 1254307"/>
                <a:gd name="connsiteY421" fmla="*/ 278938 h 298698"/>
                <a:gd name="connsiteX422" fmla="*/ 94239 w 1254307"/>
                <a:gd name="connsiteY422" fmla="*/ 289366 h 298698"/>
                <a:gd name="connsiteX423" fmla="*/ 81577 w 1254307"/>
                <a:gd name="connsiteY423" fmla="*/ 264041 h 298698"/>
                <a:gd name="connsiteX424" fmla="*/ 53274 w 1254307"/>
                <a:gd name="connsiteY424" fmla="*/ 265903 h 298698"/>
                <a:gd name="connsiteX425" fmla="*/ 53274 w 1254307"/>
                <a:gd name="connsiteY425" fmla="*/ 245793 h 298698"/>
                <a:gd name="connsiteX426" fmla="*/ 25343 w 1254307"/>
                <a:gd name="connsiteY426" fmla="*/ 236110 h 298698"/>
                <a:gd name="connsiteX427" fmla="*/ 84184 w 1254307"/>
                <a:gd name="connsiteY427" fmla="*/ 202221 h 298698"/>
                <a:gd name="connsiteX428" fmla="*/ 111743 w 1254307"/>
                <a:gd name="connsiteY428" fmla="*/ 170938 h 298698"/>
                <a:gd name="connsiteX429" fmla="*/ 70405 w 1254307"/>
                <a:gd name="connsiteY429" fmla="*/ 179131 h 298698"/>
                <a:gd name="connsiteX430" fmla="*/ 11936 w 1254307"/>
                <a:gd name="connsiteY430" fmla="*/ 213393 h 298698"/>
                <a:gd name="connsiteX431" fmla="*/ 17150 w 1254307"/>
                <a:gd name="connsiteY431" fmla="*/ 183600 h 298698"/>
                <a:gd name="connsiteX432" fmla="*/ 19 w 1254307"/>
                <a:gd name="connsiteY432" fmla="*/ 173172 h 298698"/>
                <a:gd name="connsiteX433" fmla="*/ 16405 w 1254307"/>
                <a:gd name="connsiteY433" fmla="*/ 149710 h 298698"/>
                <a:gd name="connsiteX434" fmla="*/ 19 w 1254307"/>
                <a:gd name="connsiteY434" fmla="*/ 126248 h 298698"/>
                <a:gd name="connsiteX435" fmla="*/ 17150 w 1254307"/>
                <a:gd name="connsiteY435" fmla="*/ 115821 h 298698"/>
                <a:gd name="connsiteX436" fmla="*/ 11936 w 1254307"/>
                <a:gd name="connsiteY436" fmla="*/ 86028 h 298698"/>
                <a:gd name="connsiteX437" fmla="*/ 70405 w 1254307"/>
                <a:gd name="connsiteY437" fmla="*/ 120290 h 298698"/>
                <a:gd name="connsiteX438" fmla="*/ 111743 w 1254307"/>
                <a:gd name="connsiteY438" fmla="*/ 128483 h 298698"/>
                <a:gd name="connsiteX439" fmla="*/ 84184 w 1254307"/>
                <a:gd name="connsiteY439" fmla="*/ 97200 h 298698"/>
                <a:gd name="connsiteX440" fmla="*/ 25343 w 1254307"/>
                <a:gd name="connsiteY440" fmla="*/ 63683 h 298698"/>
                <a:gd name="connsiteX441" fmla="*/ 53646 w 1254307"/>
                <a:gd name="connsiteY441" fmla="*/ 53628 h 298698"/>
                <a:gd name="connsiteX442" fmla="*/ 54391 w 1254307"/>
                <a:gd name="connsiteY442" fmla="*/ 32400 h 298698"/>
                <a:gd name="connsiteX443" fmla="*/ 81577 w 1254307"/>
                <a:gd name="connsiteY443" fmla="*/ 34634 h 298698"/>
                <a:gd name="connsiteX444" fmla="*/ 93867 w 1254307"/>
                <a:gd name="connsiteY444" fmla="*/ 9310 h 298698"/>
                <a:gd name="connsiteX445" fmla="*/ 112115 w 1254307"/>
                <a:gd name="connsiteY445" fmla="*/ 19738 h 298698"/>
                <a:gd name="connsiteX446" fmla="*/ 134833 w 1254307"/>
                <a:gd name="connsiteY446" fmla="*/ 0 h 29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Lst>
              <a:rect l="l" t="t" r="r" b="b"/>
              <a:pathLst>
                <a:path w="1254307" h="298698">
                  <a:moveTo>
                    <a:pt x="1053948" y="221958"/>
                  </a:moveTo>
                  <a:cubicBezTo>
                    <a:pt x="1040541" y="221958"/>
                    <a:pt x="1031604" y="224193"/>
                    <a:pt x="1027135" y="228662"/>
                  </a:cubicBezTo>
                  <a:cubicBezTo>
                    <a:pt x="1024900" y="231269"/>
                    <a:pt x="1023411" y="234620"/>
                    <a:pt x="1023783" y="237972"/>
                  </a:cubicBezTo>
                  <a:cubicBezTo>
                    <a:pt x="1023783" y="246165"/>
                    <a:pt x="1030114" y="251379"/>
                    <a:pt x="1039424" y="251379"/>
                  </a:cubicBezTo>
                  <a:cubicBezTo>
                    <a:pt x="1045755" y="251007"/>
                    <a:pt x="1052086" y="249145"/>
                    <a:pt x="1057672" y="245793"/>
                  </a:cubicBezTo>
                  <a:lnTo>
                    <a:pt x="1058417" y="245420"/>
                  </a:lnTo>
                  <a:lnTo>
                    <a:pt x="1058790" y="245048"/>
                  </a:lnTo>
                  <a:lnTo>
                    <a:pt x="1058790" y="221958"/>
                  </a:lnTo>
                  <a:close/>
                  <a:moveTo>
                    <a:pt x="1221535" y="191793"/>
                  </a:moveTo>
                  <a:cubicBezTo>
                    <a:pt x="1205893" y="191793"/>
                    <a:pt x="1196210" y="203710"/>
                    <a:pt x="1196210" y="221958"/>
                  </a:cubicBezTo>
                  <a:cubicBezTo>
                    <a:pt x="1196210" y="238717"/>
                    <a:pt x="1205521" y="250262"/>
                    <a:pt x="1219300" y="250262"/>
                  </a:cubicBezTo>
                  <a:cubicBezTo>
                    <a:pt x="1225259" y="250262"/>
                    <a:pt x="1231217" y="248400"/>
                    <a:pt x="1236059" y="244676"/>
                  </a:cubicBezTo>
                  <a:lnTo>
                    <a:pt x="1236804" y="244303"/>
                  </a:lnTo>
                  <a:lnTo>
                    <a:pt x="1237176" y="196634"/>
                  </a:lnTo>
                  <a:lnTo>
                    <a:pt x="1236804" y="196262"/>
                  </a:lnTo>
                  <a:cubicBezTo>
                    <a:pt x="1232335" y="193283"/>
                    <a:pt x="1227121" y="191793"/>
                    <a:pt x="1221535" y="191793"/>
                  </a:cubicBezTo>
                  <a:close/>
                  <a:moveTo>
                    <a:pt x="850239" y="191793"/>
                  </a:moveTo>
                  <a:cubicBezTo>
                    <a:pt x="836459" y="191793"/>
                    <a:pt x="827521" y="203338"/>
                    <a:pt x="827521" y="220841"/>
                  </a:cubicBezTo>
                  <a:cubicBezTo>
                    <a:pt x="827521" y="238344"/>
                    <a:pt x="837204" y="250634"/>
                    <a:pt x="850983" y="250634"/>
                  </a:cubicBezTo>
                  <a:cubicBezTo>
                    <a:pt x="864763" y="250634"/>
                    <a:pt x="873328" y="239089"/>
                    <a:pt x="873328" y="221586"/>
                  </a:cubicBezTo>
                  <a:cubicBezTo>
                    <a:pt x="873328" y="204082"/>
                    <a:pt x="864018" y="191793"/>
                    <a:pt x="850239" y="191793"/>
                  </a:cubicBezTo>
                  <a:close/>
                  <a:moveTo>
                    <a:pt x="761232" y="191793"/>
                  </a:moveTo>
                  <a:cubicBezTo>
                    <a:pt x="745963" y="191793"/>
                    <a:pt x="735907" y="203710"/>
                    <a:pt x="735907" y="221213"/>
                  </a:cubicBezTo>
                  <a:cubicBezTo>
                    <a:pt x="735907" y="237600"/>
                    <a:pt x="745218" y="248772"/>
                    <a:pt x="758625" y="248772"/>
                  </a:cubicBezTo>
                  <a:cubicBezTo>
                    <a:pt x="764956" y="248772"/>
                    <a:pt x="770914" y="246538"/>
                    <a:pt x="776500" y="242813"/>
                  </a:cubicBezTo>
                  <a:lnTo>
                    <a:pt x="776500" y="195144"/>
                  </a:lnTo>
                  <a:lnTo>
                    <a:pt x="776128" y="194772"/>
                  </a:lnTo>
                  <a:cubicBezTo>
                    <a:pt x="771287" y="192910"/>
                    <a:pt x="766445" y="191793"/>
                    <a:pt x="761232" y="191793"/>
                  </a:cubicBezTo>
                  <a:close/>
                  <a:moveTo>
                    <a:pt x="611893" y="190675"/>
                  </a:moveTo>
                  <a:cubicBezTo>
                    <a:pt x="599976" y="190675"/>
                    <a:pt x="591038" y="199613"/>
                    <a:pt x="589549" y="213020"/>
                  </a:cubicBezTo>
                  <a:lnTo>
                    <a:pt x="589549" y="213765"/>
                  </a:lnTo>
                  <a:lnTo>
                    <a:pt x="630514" y="213765"/>
                  </a:lnTo>
                  <a:lnTo>
                    <a:pt x="630514" y="213020"/>
                  </a:lnTo>
                  <a:cubicBezTo>
                    <a:pt x="630514" y="202593"/>
                    <a:pt x="625673" y="190675"/>
                    <a:pt x="611893" y="190675"/>
                  </a:cubicBezTo>
                  <a:close/>
                  <a:moveTo>
                    <a:pt x="467770" y="178014"/>
                  </a:moveTo>
                  <a:cubicBezTo>
                    <a:pt x="477080" y="177642"/>
                    <a:pt x="486018" y="180249"/>
                    <a:pt x="493839" y="185090"/>
                  </a:cubicBezTo>
                  <a:lnTo>
                    <a:pt x="487880" y="195890"/>
                  </a:lnTo>
                  <a:cubicBezTo>
                    <a:pt x="481921" y="192538"/>
                    <a:pt x="475590" y="190676"/>
                    <a:pt x="468887" y="190676"/>
                  </a:cubicBezTo>
                  <a:cubicBezTo>
                    <a:pt x="458459" y="190676"/>
                    <a:pt x="454735" y="196262"/>
                    <a:pt x="454735" y="201104"/>
                  </a:cubicBezTo>
                  <a:cubicBezTo>
                    <a:pt x="454735" y="207435"/>
                    <a:pt x="461439" y="210414"/>
                    <a:pt x="469632" y="213766"/>
                  </a:cubicBezTo>
                  <a:lnTo>
                    <a:pt x="470749" y="214138"/>
                  </a:lnTo>
                  <a:cubicBezTo>
                    <a:pt x="481921" y="218980"/>
                    <a:pt x="494956" y="224193"/>
                    <a:pt x="494956" y="239835"/>
                  </a:cubicBezTo>
                  <a:cubicBezTo>
                    <a:pt x="494956" y="255476"/>
                    <a:pt x="483039" y="264787"/>
                    <a:pt x="464046" y="264787"/>
                  </a:cubicBezTo>
                  <a:cubicBezTo>
                    <a:pt x="453618" y="264787"/>
                    <a:pt x="443190" y="261807"/>
                    <a:pt x="434625" y="256593"/>
                  </a:cubicBezTo>
                  <a:lnTo>
                    <a:pt x="440584" y="245421"/>
                  </a:lnTo>
                  <a:cubicBezTo>
                    <a:pt x="447287" y="249145"/>
                    <a:pt x="454735" y="251380"/>
                    <a:pt x="462184" y="251752"/>
                  </a:cubicBezTo>
                  <a:cubicBezTo>
                    <a:pt x="471494" y="251752"/>
                    <a:pt x="477453" y="247283"/>
                    <a:pt x="477453" y="240580"/>
                  </a:cubicBezTo>
                  <a:cubicBezTo>
                    <a:pt x="477453" y="233876"/>
                    <a:pt x="471494" y="231642"/>
                    <a:pt x="461811" y="227545"/>
                  </a:cubicBezTo>
                  <a:lnTo>
                    <a:pt x="459204" y="226428"/>
                  </a:lnTo>
                  <a:cubicBezTo>
                    <a:pt x="449894" y="222704"/>
                    <a:pt x="437604" y="217118"/>
                    <a:pt x="437604" y="202221"/>
                  </a:cubicBezTo>
                  <a:cubicBezTo>
                    <a:pt x="437604" y="187324"/>
                    <a:pt x="449894" y="178014"/>
                    <a:pt x="467770" y="178014"/>
                  </a:cubicBezTo>
                  <a:close/>
                  <a:moveTo>
                    <a:pt x="1134762" y="177641"/>
                  </a:moveTo>
                  <a:cubicBezTo>
                    <a:pt x="1142210" y="177269"/>
                    <a:pt x="1149659" y="179876"/>
                    <a:pt x="1155245" y="185089"/>
                  </a:cubicBezTo>
                  <a:cubicBezTo>
                    <a:pt x="1163438" y="193282"/>
                    <a:pt x="1163438" y="203710"/>
                    <a:pt x="1163438" y="215627"/>
                  </a:cubicBezTo>
                  <a:lnTo>
                    <a:pt x="1163438" y="262551"/>
                  </a:lnTo>
                  <a:lnTo>
                    <a:pt x="1146307" y="262551"/>
                  </a:lnTo>
                  <a:lnTo>
                    <a:pt x="1146307" y="217489"/>
                  </a:lnTo>
                  <a:cubicBezTo>
                    <a:pt x="1146307" y="206317"/>
                    <a:pt x="1146307" y="200358"/>
                    <a:pt x="1142210" y="196262"/>
                  </a:cubicBezTo>
                  <a:cubicBezTo>
                    <a:pt x="1139231" y="193655"/>
                    <a:pt x="1135134" y="192165"/>
                    <a:pt x="1131038" y="192538"/>
                  </a:cubicBezTo>
                  <a:cubicBezTo>
                    <a:pt x="1124334" y="192910"/>
                    <a:pt x="1117631" y="195144"/>
                    <a:pt x="1112045" y="198869"/>
                  </a:cubicBezTo>
                  <a:lnTo>
                    <a:pt x="1111672" y="199241"/>
                  </a:lnTo>
                  <a:lnTo>
                    <a:pt x="1111672" y="262924"/>
                  </a:lnTo>
                  <a:lnTo>
                    <a:pt x="1094169" y="262924"/>
                  </a:lnTo>
                  <a:lnTo>
                    <a:pt x="1094169" y="180248"/>
                  </a:lnTo>
                  <a:lnTo>
                    <a:pt x="1109066" y="180248"/>
                  </a:lnTo>
                  <a:lnTo>
                    <a:pt x="1109066" y="187324"/>
                  </a:lnTo>
                  <a:lnTo>
                    <a:pt x="1110183" y="186207"/>
                  </a:lnTo>
                  <a:cubicBezTo>
                    <a:pt x="1117259" y="180993"/>
                    <a:pt x="1125824" y="178013"/>
                    <a:pt x="1134762" y="177641"/>
                  </a:cubicBezTo>
                  <a:close/>
                  <a:moveTo>
                    <a:pt x="1043148" y="177641"/>
                  </a:moveTo>
                  <a:cubicBezTo>
                    <a:pt x="1055066" y="177641"/>
                    <a:pt x="1062886" y="180248"/>
                    <a:pt x="1068845" y="186207"/>
                  </a:cubicBezTo>
                  <a:cubicBezTo>
                    <a:pt x="1075176" y="192538"/>
                    <a:pt x="1075176" y="200731"/>
                    <a:pt x="1074804" y="211531"/>
                  </a:cubicBezTo>
                  <a:lnTo>
                    <a:pt x="1074804" y="262924"/>
                  </a:lnTo>
                  <a:lnTo>
                    <a:pt x="1059907" y="262924"/>
                  </a:lnTo>
                  <a:lnTo>
                    <a:pt x="1059907" y="255848"/>
                  </a:lnTo>
                  <a:lnTo>
                    <a:pt x="1058790" y="256593"/>
                  </a:lnTo>
                  <a:cubicBezTo>
                    <a:pt x="1051714" y="261434"/>
                    <a:pt x="1043148" y="264414"/>
                    <a:pt x="1034583" y="264414"/>
                  </a:cubicBezTo>
                  <a:cubicBezTo>
                    <a:pt x="1018942" y="264414"/>
                    <a:pt x="1008514" y="253986"/>
                    <a:pt x="1008514" y="238717"/>
                  </a:cubicBezTo>
                  <a:cubicBezTo>
                    <a:pt x="1008514" y="219724"/>
                    <a:pt x="1024155" y="210041"/>
                    <a:pt x="1055066" y="210041"/>
                  </a:cubicBezTo>
                  <a:lnTo>
                    <a:pt x="1058790" y="210041"/>
                  </a:lnTo>
                  <a:lnTo>
                    <a:pt x="1058790" y="205945"/>
                  </a:lnTo>
                  <a:cubicBezTo>
                    <a:pt x="1058790" y="200731"/>
                    <a:pt x="1058790" y="197751"/>
                    <a:pt x="1055810" y="194772"/>
                  </a:cubicBezTo>
                  <a:cubicBezTo>
                    <a:pt x="1052831" y="191793"/>
                    <a:pt x="1048735" y="190676"/>
                    <a:pt x="1041659" y="190676"/>
                  </a:cubicBezTo>
                  <a:cubicBezTo>
                    <a:pt x="1033838" y="191048"/>
                    <a:pt x="1026017" y="193282"/>
                    <a:pt x="1019314" y="197007"/>
                  </a:cubicBezTo>
                  <a:lnTo>
                    <a:pt x="1013355" y="186207"/>
                  </a:lnTo>
                  <a:cubicBezTo>
                    <a:pt x="1021921" y="180248"/>
                    <a:pt x="1032348" y="177269"/>
                    <a:pt x="1043148" y="177641"/>
                  </a:cubicBezTo>
                  <a:close/>
                  <a:moveTo>
                    <a:pt x="851356" y="177641"/>
                  </a:moveTo>
                  <a:cubicBezTo>
                    <a:pt x="875190" y="177641"/>
                    <a:pt x="891204" y="194027"/>
                    <a:pt x="891204" y="220469"/>
                  </a:cubicBezTo>
                  <a:cubicBezTo>
                    <a:pt x="891204" y="246910"/>
                    <a:pt x="874446" y="264413"/>
                    <a:pt x="849866" y="264413"/>
                  </a:cubicBezTo>
                  <a:cubicBezTo>
                    <a:pt x="826032" y="264413"/>
                    <a:pt x="810018" y="248027"/>
                    <a:pt x="810018" y="221586"/>
                  </a:cubicBezTo>
                  <a:cubicBezTo>
                    <a:pt x="810018" y="195144"/>
                    <a:pt x="826777" y="177641"/>
                    <a:pt x="851356" y="177641"/>
                  </a:cubicBezTo>
                  <a:close/>
                  <a:moveTo>
                    <a:pt x="761604" y="177641"/>
                  </a:moveTo>
                  <a:cubicBezTo>
                    <a:pt x="772776" y="178013"/>
                    <a:pt x="783576" y="180620"/>
                    <a:pt x="793631" y="185834"/>
                  </a:cubicBezTo>
                  <a:lnTo>
                    <a:pt x="793631" y="259200"/>
                  </a:lnTo>
                  <a:cubicBezTo>
                    <a:pt x="793631" y="271862"/>
                    <a:pt x="793259" y="280055"/>
                    <a:pt x="785438" y="288248"/>
                  </a:cubicBezTo>
                  <a:cubicBezTo>
                    <a:pt x="778735" y="295324"/>
                    <a:pt x="769052" y="298675"/>
                    <a:pt x="756390" y="298675"/>
                  </a:cubicBezTo>
                  <a:cubicBezTo>
                    <a:pt x="744101" y="299048"/>
                    <a:pt x="731811" y="294951"/>
                    <a:pt x="721756" y="287503"/>
                  </a:cubicBezTo>
                  <a:lnTo>
                    <a:pt x="728832" y="276331"/>
                  </a:lnTo>
                  <a:cubicBezTo>
                    <a:pt x="736652" y="281544"/>
                    <a:pt x="745590" y="284524"/>
                    <a:pt x="754528" y="284524"/>
                  </a:cubicBezTo>
                  <a:cubicBezTo>
                    <a:pt x="760487" y="284896"/>
                    <a:pt x="766073" y="283407"/>
                    <a:pt x="770914" y="279682"/>
                  </a:cubicBezTo>
                  <a:cubicBezTo>
                    <a:pt x="776500" y="274841"/>
                    <a:pt x="776873" y="268138"/>
                    <a:pt x="776873" y="259944"/>
                  </a:cubicBezTo>
                  <a:lnTo>
                    <a:pt x="776873" y="256220"/>
                  </a:lnTo>
                  <a:lnTo>
                    <a:pt x="775756" y="256965"/>
                  </a:lnTo>
                  <a:lnTo>
                    <a:pt x="775011" y="257338"/>
                  </a:lnTo>
                  <a:cubicBezTo>
                    <a:pt x="769052" y="260689"/>
                    <a:pt x="761976" y="262551"/>
                    <a:pt x="754901" y="262551"/>
                  </a:cubicBezTo>
                  <a:cubicBezTo>
                    <a:pt x="729949" y="262551"/>
                    <a:pt x="718404" y="241324"/>
                    <a:pt x="718404" y="221958"/>
                  </a:cubicBezTo>
                  <a:cubicBezTo>
                    <a:pt x="718404" y="196262"/>
                    <a:pt x="736652" y="177641"/>
                    <a:pt x="761604" y="177641"/>
                  </a:cubicBezTo>
                  <a:close/>
                  <a:moveTo>
                    <a:pt x="706487" y="177641"/>
                  </a:moveTo>
                  <a:cubicBezTo>
                    <a:pt x="709466" y="177641"/>
                    <a:pt x="712073" y="178013"/>
                    <a:pt x="714680" y="179131"/>
                  </a:cubicBezTo>
                  <a:lnTo>
                    <a:pt x="710583" y="192538"/>
                  </a:lnTo>
                  <a:cubicBezTo>
                    <a:pt x="708721" y="192165"/>
                    <a:pt x="707232" y="192165"/>
                    <a:pt x="705370" y="192165"/>
                  </a:cubicBezTo>
                  <a:cubicBezTo>
                    <a:pt x="695315" y="192165"/>
                    <a:pt x="686004" y="197007"/>
                    <a:pt x="680418" y="205572"/>
                  </a:cubicBezTo>
                  <a:lnTo>
                    <a:pt x="680418" y="262551"/>
                  </a:lnTo>
                  <a:lnTo>
                    <a:pt x="663287" y="262551"/>
                  </a:lnTo>
                  <a:lnTo>
                    <a:pt x="663287" y="180248"/>
                  </a:lnTo>
                  <a:lnTo>
                    <a:pt x="678184" y="180248"/>
                  </a:lnTo>
                  <a:lnTo>
                    <a:pt x="678184" y="192910"/>
                  </a:lnTo>
                  <a:lnTo>
                    <a:pt x="679673" y="190303"/>
                  </a:lnTo>
                  <a:cubicBezTo>
                    <a:pt x="686377" y="182110"/>
                    <a:pt x="696059" y="177641"/>
                    <a:pt x="706487" y="177641"/>
                  </a:cubicBezTo>
                  <a:close/>
                  <a:moveTo>
                    <a:pt x="611521" y="177641"/>
                  </a:moveTo>
                  <a:cubicBezTo>
                    <a:pt x="633866" y="177641"/>
                    <a:pt x="646900" y="193655"/>
                    <a:pt x="646900" y="220096"/>
                  </a:cubicBezTo>
                  <a:cubicBezTo>
                    <a:pt x="646900" y="221586"/>
                    <a:pt x="646528" y="223448"/>
                    <a:pt x="646528" y="224565"/>
                  </a:cubicBezTo>
                  <a:cubicBezTo>
                    <a:pt x="646528" y="224938"/>
                    <a:pt x="646528" y="225682"/>
                    <a:pt x="646528" y="226055"/>
                  </a:cubicBezTo>
                  <a:lnTo>
                    <a:pt x="589549" y="226055"/>
                  </a:lnTo>
                  <a:lnTo>
                    <a:pt x="589549" y="226800"/>
                  </a:lnTo>
                  <a:cubicBezTo>
                    <a:pt x="589549" y="227544"/>
                    <a:pt x="589549" y="227917"/>
                    <a:pt x="589549" y="228662"/>
                  </a:cubicBezTo>
                  <a:cubicBezTo>
                    <a:pt x="590293" y="241696"/>
                    <a:pt x="601466" y="251379"/>
                    <a:pt x="614128" y="250634"/>
                  </a:cubicBezTo>
                  <a:cubicBezTo>
                    <a:pt x="621949" y="250634"/>
                    <a:pt x="629769" y="248400"/>
                    <a:pt x="636845" y="244675"/>
                  </a:cubicBezTo>
                  <a:lnTo>
                    <a:pt x="642804" y="255848"/>
                  </a:lnTo>
                  <a:cubicBezTo>
                    <a:pt x="633866" y="261434"/>
                    <a:pt x="623438" y="264413"/>
                    <a:pt x="612638" y="264413"/>
                  </a:cubicBezTo>
                  <a:cubicBezTo>
                    <a:pt x="588431" y="264413"/>
                    <a:pt x="572790" y="247282"/>
                    <a:pt x="572790" y="221586"/>
                  </a:cubicBezTo>
                  <a:cubicBezTo>
                    <a:pt x="572790" y="195889"/>
                    <a:pt x="588804" y="177641"/>
                    <a:pt x="611521" y="177641"/>
                  </a:cubicBezTo>
                  <a:close/>
                  <a:moveTo>
                    <a:pt x="372060" y="164979"/>
                  </a:moveTo>
                  <a:cubicBezTo>
                    <a:pt x="352694" y="164979"/>
                    <a:pt x="339287" y="182483"/>
                    <a:pt x="339287" y="208179"/>
                  </a:cubicBezTo>
                  <a:cubicBezTo>
                    <a:pt x="339287" y="232758"/>
                    <a:pt x="353067" y="250262"/>
                    <a:pt x="373177" y="250262"/>
                  </a:cubicBezTo>
                  <a:cubicBezTo>
                    <a:pt x="397756" y="250262"/>
                    <a:pt x="406322" y="227545"/>
                    <a:pt x="406322" y="206689"/>
                  </a:cubicBezTo>
                  <a:cubicBezTo>
                    <a:pt x="406322" y="182110"/>
                    <a:pt x="391425" y="164979"/>
                    <a:pt x="372060" y="164979"/>
                  </a:cubicBezTo>
                  <a:close/>
                  <a:moveTo>
                    <a:pt x="915038" y="156041"/>
                  </a:moveTo>
                  <a:lnTo>
                    <a:pt x="932541" y="156041"/>
                  </a:lnTo>
                  <a:lnTo>
                    <a:pt x="932541" y="180248"/>
                  </a:lnTo>
                  <a:lnTo>
                    <a:pt x="957121" y="180248"/>
                  </a:lnTo>
                  <a:lnTo>
                    <a:pt x="957121" y="194027"/>
                  </a:lnTo>
                  <a:lnTo>
                    <a:pt x="932541" y="194027"/>
                  </a:lnTo>
                  <a:lnTo>
                    <a:pt x="932541" y="234248"/>
                  </a:lnTo>
                  <a:cubicBezTo>
                    <a:pt x="932541" y="240951"/>
                    <a:pt x="932541" y="250262"/>
                    <a:pt x="944459" y="250262"/>
                  </a:cubicBezTo>
                  <a:cubicBezTo>
                    <a:pt x="948183" y="250262"/>
                    <a:pt x="951907" y="249517"/>
                    <a:pt x="955259" y="248027"/>
                  </a:cubicBezTo>
                  <a:lnTo>
                    <a:pt x="959728" y="259944"/>
                  </a:lnTo>
                  <a:cubicBezTo>
                    <a:pt x="953769" y="263296"/>
                    <a:pt x="947066" y="264786"/>
                    <a:pt x="940735" y="264786"/>
                  </a:cubicBezTo>
                  <a:cubicBezTo>
                    <a:pt x="933659" y="265158"/>
                    <a:pt x="926583" y="262924"/>
                    <a:pt x="920997" y="258082"/>
                  </a:cubicBezTo>
                  <a:cubicBezTo>
                    <a:pt x="915038" y="251751"/>
                    <a:pt x="915038" y="244675"/>
                    <a:pt x="915038" y="234248"/>
                  </a:cubicBezTo>
                  <a:lnTo>
                    <a:pt x="915038" y="194027"/>
                  </a:lnTo>
                  <a:lnTo>
                    <a:pt x="900514" y="194027"/>
                  </a:lnTo>
                  <a:lnTo>
                    <a:pt x="900514" y="180248"/>
                  </a:lnTo>
                  <a:lnTo>
                    <a:pt x="915038" y="180248"/>
                  </a:lnTo>
                  <a:close/>
                  <a:moveTo>
                    <a:pt x="519163" y="156041"/>
                  </a:moveTo>
                  <a:lnTo>
                    <a:pt x="536667" y="156041"/>
                  </a:lnTo>
                  <a:lnTo>
                    <a:pt x="536667" y="180248"/>
                  </a:lnTo>
                  <a:lnTo>
                    <a:pt x="561246" y="180248"/>
                  </a:lnTo>
                  <a:lnTo>
                    <a:pt x="561246" y="194027"/>
                  </a:lnTo>
                  <a:lnTo>
                    <a:pt x="536667" y="194027"/>
                  </a:lnTo>
                  <a:lnTo>
                    <a:pt x="536667" y="234248"/>
                  </a:lnTo>
                  <a:cubicBezTo>
                    <a:pt x="536667" y="240951"/>
                    <a:pt x="536667" y="250262"/>
                    <a:pt x="548956" y="250262"/>
                  </a:cubicBezTo>
                  <a:cubicBezTo>
                    <a:pt x="552680" y="250262"/>
                    <a:pt x="556404" y="249517"/>
                    <a:pt x="559756" y="248027"/>
                  </a:cubicBezTo>
                  <a:lnTo>
                    <a:pt x="564225" y="259944"/>
                  </a:lnTo>
                  <a:cubicBezTo>
                    <a:pt x="557894" y="263296"/>
                    <a:pt x="551563" y="264786"/>
                    <a:pt x="544860" y="264786"/>
                  </a:cubicBezTo>
                  <a:cubicBezTo>
                    <a:pt x="537784" y="265158"/>
                    <a:pt x="530708" y="262924"/>
                    <a:pt x="525122" y="258082"/>
                  </a:cubicBezTo>
                  <a:cubicBezTo>
                    <a:pt x="519163" y="251751"/>
                    <a:pt x="519163" y="244675"/>
                    <a:pt x="519163" y="234248"/>
                  </a:cubicBezTo>
                  <a:lnTo>
                    <a:pt x="519163" y="194027"/>
                  </a:lnTo>
                  <a:lnTo>
                    <a:pt x="504639" y="194027"/>
                  </a:lnTo>
                  <a:lnTo>
                    <a:pt x="504639" y="180248"/>
                  </a:lnTo>
                  <a:lnTo>
                    <a:pt x="519163" y="180248"/>
                  </a:lnTo>
                  <a:close/>
                  <a:moveTo>
                    <a:pt x="976114" y="150828"/>
                  </a:moveTo>
                  <a:lnTo>
                    <a:pt x="993617" y="150828"/>
                  </a:lnTo>
                  <a:lnTo>
                    <a:pt x="993617" y="262552"/>
                  </a:lnTo>
                  <a:lnTo>
                    <a:pt x="976114" y="262552"/>
                  </a:lnTo>
                  <a:close/>
                  <a:moveTo>
                    <a:pt x="866252" y="150828"/>
                  </a:moveTo>
                  <a:cubicBezTo>
                    <a:pt x="871838" y="150828"/>
                    <a:pt x="875935" y="155297"/>
                    <a:pt x="875935" y="160883"/>
                  </a:cubicBezTo>
                  <a:cubicBezTo>
                    <a:pt x="875935" y="166097"/>
                    <a:pt x="871838" y="170566"/>
                    <a:pt x="866252" y="170566"/>
                  </a:cubicBezTo>
                  <a:cubicBezTo>
                    <a:pt x="860666" y="170566"/>
                    <a:pt x="856569" y="166097"/>
                    <a:pt x="856569" y="160511"/>
                  </a:cubicBezTo>
                  <a:cubicBezTo>
                    <a:pt x="856569" y="154925"/>
                    <a:pt x="861038" y="150828"/>
                    <a:pt x="866252" y="150828"/>
                  </a:cubicBezTo>
                  <a:close/>
                  <a:moveTo>
                    <a:pt x="834597" y="150828"/>
                  </a:moveTo>
                  <a:cubicBezTo>
                    <a:pt x="840183" y="150828"/>
                    <a:pt x="844652" y="154925"/>
                    <a:pt x="844652" y="160511"/>
                  </a:cubicBezTo>
                  <a:cubicBezTo>
                    <a:pt x="844652" y="166097"/>
                    <a:pt x="840555" y="170566"/>
                    <a:pt x="834969" y="170566"/>
                  </a:cubicBezTo>
                  <a:cubicBezTo>
                    <a:pt x="829383" y="170566"/>
                    <a:pt x="824914" y="166469"/>
                    <a:pt x="824914" y="160883"/>
                  </a:cubicBezTo>
                  <a:cubicBezTo>
                    <a:pt x="824914" y="155297"/>
                    <a:pt x="829011" y="150828"/>
                    <a:pt x="834597" y="150828"/>
                  </a:cubicBezTo>
                  <a:close/>
                  <a:moveTo>
                    <a:pt x="1254307" y="150455"/>
                  </a:moveTo>
                  <a:lnTo>
                    <a:pt x="1254307" y="262179"/>
                  </a:lnTo>
                  <a:lnTo>
                    <a:pt x="1239410" y="262179"/>
                  </a:lnTo>
                  <a:lnTo>
                    <a:pt x="1239410" y="255476"/>
                  </a:lnTo>
                  <a:lnTo>
                    <a:pt x="1237921" y="256593"/>
                  </a:lnTo>
                  <a:cubicBezTo>
                    <a:pt x="1231590" y="261807"/>
                    <a:pt x="1223769" y="264414"/>
                    <a:pt x="1215576" y="264414"/>
                  </a:cubicBezTo>
                  <a:cubicBezTo>
                    <a:pt x="1193604" y="264414"/>
                    <a:pt x="1178707" y="247655"/>
                    <a:pt x="1178707" y="222331"/>
                  </a:cubicBezTo>
                  <a:cubicBezTo>
                    <a:pt x="1178707" y="197007"/>
                    <a:pt x="1195838" y="177641"/>
                    <a:pt x="1218555" y="177641"/>
                  </a:cubicBezTo>
                  <a:cubicBezTo>
                    <a:pt x="1224514" y="177641"/>
                    <a:pt x="1230472" y="178758"/>
                    <a:pt x="1235686" y="181738"/>
                  </a:cubicBezTo>
                  <a:lnTo>
                    <a:pt x="1236804" y="182483"/>
                  </a:lnTo>
                  <a:lnTo>
                    <a:pt x="1236804" y="181365"/>
                  </a:lnTo>
                  <a:lnTo>
                    <a:pt x="1236804" y="150827"/>
                  </a:lnTo>
                  <a:close/>
                  <a:moveTo>
                    <a:pt x="373177" y="150455"/>
                  </a:moveTo>
                  <a:cubicBezTo>
                    <a:pt x="403342" y="150455"/>
                    <a:pt x="424942" y="173545"/>
                    <a:pt x="424942" y="206689"/>
                  </a:cubicBezTo>
                  <a:cubicBezTo>
                    <a:pt x="424942" y="241696"/>
                    <a:pt x="403342" y="264786"/>
                    <a:pt x="372804" y="264786"/>
                  </a:cubicBezTo>
                  <a:cubicBezTo>
                    <a:pt x="342267" y="264786"/>
                    <a:pt x="321039" y="240952"/>
                    <a:pt x="321039" y="207434"/>
                  </a:cubicBezTo>
                  <a:cubicBezTo>
                    <a:pt x="321039" y="173917"/>
                    <a:pt x="342267" y="150455"/>
                    <a:pt x="373177" y="150455"/>
                  </a:cubicBezTo>
                  <a:close/>
                  <a:moveTo>
                    <a:pt x="388446" y="123269"/>
                  </a:moveTo>
                  <a:cubicBezTo>
                    <a:pt x="394032" y="123641"/>
                    <a:pt x="398129" y="128483"/>
                    <a:pt x="397756" y="133697"/>
                  </a:cubicBezTo>
                  <a:cubicBezTo>
                    <a:pt x="397384" y="138538"/>
                    <a:pt x="393660" y="142635"/>
                    <a:pt x="388446" y="143007"/>
                  </a:cubicBezTo>
                  <a:cubicBezTo>
                    <a:pt x="382860" y="142635"/>
                    <a:pt x="378763" y="137793"/>
                    <a:pt x="379135" y="132579"/>
                  </a:cubicBezTo>
                  <a:cubicBezTo>
                    <a:pt x="379508" y="127738"/>
                    <a:pt x="383604" y="123641"/>
                    <a:pt x="388446" y="123269"/>
                  </a:cubicBezTo>
                  <a:close/>
                  <a:moveTo>
                    <a:pt x="357163" y="123269"/>
                  </a:moveTo>
                  <a:cubicBezTo>
                    <a:pt x="362749" y="123269"/>
                    <a:pt x="367218" y="127366"/>
                    <a:pt x="367218" y="132952"/>
                  </a:cubicBezTo>
                  <a:cubicBezTo>
                    <a:pt x="367218" y="132952"/>
                    <a:pt x="367218" y="132952"/>
                    <a:pt x="367218" y="133324"/>
                  </a:cubicBezTo>
                  <a:cubicBezTo>
                    <a:pt x="367218" y="138538"/>
                    <a:pt x="362749" y="142635"/>
                    <a:pt x="357535" y="143007"/>
                  </a:cubicBezTo>
                  <a:cubicBezTo>
                    <a:pt x="351949" y="143007"/>
                    <a:pt x="347480" y="138910"/>
                    <a:pt x="347480" y="133324"/>
                  </a:cubicBezTo>
                  <a:cubicBezTo>
                    <a:pt x="347480" y="127738"/>
                    <a:pt x="351577" y="123269"/>
                    <a:pt x="357163" y="123269"/>
                  </a:cubicBezTo>
                  <a:close/>
                  <a:moveTo>
                    <a:pt x="465535" y="61820"/>
                  </a:moveTo>
                  <a:cubicBezTo>
                    <a:pt x="456224" y="61820"/>
                    <a:pt x="450266" y="68896"/>
                    <a:pt x="450266" y="79324"/>
                  </a:cubicBezTo>
                  <a:cubicBezTo>
                    <a:pt x="450266" y="89007"/>
                    <a:pt x="455852" y="95710"/>
                    <a:pt x="464045" y="95710"/>
                  </a:cubicBezTo>
                  <a:cubicBezTo>
                    <a:pt x="467769" y="95710"/>
                    <a:pt x="471493" y="94220"/>
                    <a:pt x="474845" y="91986"/>
                  </a:cubicBezTo>
                  <a:lnTo>
                    <a:pt x="474845" y="63683"/>
                  </a:lnTo>
                  <a:lnTo>
                    <a:pt x="474473" y="63683"/>
                  </a:lnTo>
                  <a:cubicBezTo>
                    <a:pt x="471493" y="62565"/>
                    <a:pt x="468514" y="61820"/>
                    <a:pt x="465535" y="61820"/>
                  </a:cubicBezTo>
                  <a:close/>
                  <a:moveTo>
                    <a:pt x="546721" y="61448"/>
                  </a:moveTo>
                  <a:cubicBezTo>
                    <a:pt x="538156" y="61448"/>
                    <a:pt x="532942" y="68524"/>
                    <a:pt x="532942" y="78952"/>
                  </a:cubicBezTo>
                  <a:cubicBezTo>
                    <a:pt x="532942" y="89379"/>
                    <a:pt x="538901" y="96828"/>
                    <a:pt x="547094" y="96828"/>
                  </a:cubicBezTo>
                  <a:cubicBezTo>
                    <a:pt x="555287" y="96828"/>
                    <a:pt x="560873" y="89752"/>
                    <a:pt x="560873" y="79324"/>
                  </a:cubicBezTo>
                  <a:cubicBezTo>
                    <a:pt x="560873" y="68897"/>
                    <a:pt x="555287" y="61448"/>
                    <a:pt x="546721" y="61448"/>
                  </a:cubicBezTo>
                  <a:close/>
                  <a:moveTo>
                    <a:pt x="409301" y="61076"/>
                  </a:moveTo>
                  <a:cubicBezTo>
                    <a:pt x="402225" y="61076"/>
                    <a:pt x="397012" y="66290"/>
                    <a:pt x="395894" y="74483"/>
                  </a:cubicBezTo>
                  <a:lnTo>
                    <a:pt x="395894" y="75228"/>
                  </a:lnTo>
                  <a:lnTo>
                    <a:pt x="420474" y="75228"/>
                  </a:lnTo>
                  <a:lnTo>
                    <a:pt x="420474" y="74483"/>
                  </a:lnTo>
                  <a:cubicBezTo>
                    <a:pt x="420474" y="68152"/>
                    <a:pt x="417494" y="61076"/>
                    <a:pt x="409301" y="61076"/>
                  </a:cubicBezTo>
                  <a:close/>
                  <a:moveTo>
                    <a:pt x="500170" y="57724"/>
                  </a:moveTo>
                  <a:lnTo>
                    <a:pt x="509853" y="57724"/>
                  </a:lnTo>
                  <a:lnTo>
                    <a:pt x="509853" y="103531"/>
                  </a:lnTo>
                  <a:lnTo>
                    <a:pt x="500170" y="103531"/>
                  </a:lnTo>
                  <a:close/>
                  <a:moveTo>
                    <a:pt x="606680" y="54000"/>
                  </a:moveTo>
                  <a:cubicBezTo>
                    <a:pt x="611149" y="53628"/>
                    <a:pt x="615246" y="55490"/>
                    <a:pt x="618597" y="58469"/>
                  </a:cubicBezTo>
                  <a:cubicBezTo>
                    <a:pt x="623439" y="63311"/>
                    <a:pt x="623439" y="69269"/>
                    <a:pt x="623439" y="76345"/>
                  </a:cubicBezTo>
                  <a:lnTo>
                    <a:pt x="623439" y="103904"/>
                  </a:lnTo>
                  <a:lnTo>
                    <a:pt x="614128" y="103904"/>
                  </a:lnTo>
                  <a:lnTo>
                    <a:pt x="614128" y="103531"/>
                  </a:lnTo>
                  <a:lnTo>
                    <a:pt x="614128" y="77090"/>
                  </a:lnTo>
                  <a:cubicBezTo>
                    <a:pt x="614128" y="70386"/>
                    <a:pt x="614128" y="66662"/>
                    <a:pt x="611521" y="64428"/>
                  </a:cubicBezTo>
                  <a:cubicBezTo>
                    <a:pt x="609659" y="62938"/>
                    <a:pt x="607425" y="61821"/>
                    <a:pt x="604818" y="62193"/>
                  </a:cubicBezTo>
                  <a:cubicBezTo>
                    <a:pt x="600721" y="62193"/>
                    <a:pt x="596625" y="63683"/>
                    <a:pt x="593273" y="65917"/>
                  </a:cubicBezTo>
                  <a:lnTo>
                    <a:pt x="592901" y="65917"/>
                  </a:lnTo>
                  <a:lnTo>
                    <a:pt x="592901" y="103531"/>
                  </a:lnTo>
                  <a:lnTo>
                    <a:pt x="583218" y="103531"/>
                  </a:lnTo>
                  <a:lnTo>
                    <a:pt x="583218" y="55490"/>
                  </a:lnTo>
                  <a:lnTo>
                    <a:pt x="591411" y="55490"/>
                  </a:lnTo>
                  <a:lnTo>
                    <a:pt x="591411" y="59586"/>
                  </a:lnTo>
                  <a:lnTo>
                    <a:pt x="592528" y="58842"/>
                  </a:lnTo>
                  <a:cubicBezTo>
                    <a:pt x="596625" y="55862"/>
                    <a:pt x="601839" y="54000"/>
                    <a:pt x="606680" y="54000"/>
                  </a:cubicBezTo>
                  <a:close/>
                  <a:moveTo>
                    <a:pt x="547094" y="54000"/>
                  </a:moveTo>
                  <a:cubicBezTo>
                    <a:pt x="561246" y="54000"/>
                    <a:pt x="570183" y="64055"/>
                    <a:pt x="570183" y="79324"/>
                  </a:cubicBezTo>
                  <a:cubicBezTo>
                    <a:pt x="570183" y="94593"/>
                    <a:pt x="559756" y="105021"/>
                    <a:pt x="545977" y="105021"/>
                  </a:cubicBezTo>
                  <a:cubicBezTo>
                    <a:pt x="532197" y="105021"/>
                    <a:pt x="522887" y="94966"/>
                    <a:pt x="522887" y="79697"/>
                  </a:cubicBezTo>
                  <a:cubicBezTo>
                    <a:pt x="522887" y="64428"/>
                    <a:pt x="532570" y="54000"/>
                    <a:pt x="547094" y="54000"/>
                  </a:cubicBezTo>
                  <a:close/>
                  <a:moveTo>
                    <a:pt x="409301" y="54000"/>
                  </a:moveTo>
                  <a:cubicBezTo>
                    <a:pt x="421963" y="54000"/>
                    <a:pt x="429784" y="63310"/>
                    <a:pt x="429412" y="78579"/>
                  </a:cubicBezTo>
                  <a:cubicBezTo>
                    <a:pt x="429412" y="79697"/>
                    <a:pt x="429412" y="80814"/>
                    <a:pt x="429412" y="81186"/>
                  </a:cubicBezTo>
                  <a:cubicBezTo>
                    <a:pt x="429412" y="81559"/>
                    <a:pt x="429412" y="81559"/>
                    <a:pt x="429412" y="81931"/>
                  </a:cubicBezTo>
                  <a:lnTo>
                    <a:pt x="395894" y="81931"/>
                  </a:lnTo>
                  <a:lnTo>
                    <a:pt x="395894" y="82676"/>
                  </a:lnTo>
                  <a:cubicBezTo>
                    <a:pt x="395894" y="83048"/>
                    <a:pt x="395894" y="83793"/>
                    <a:pt x="395894" y="84166"/>
                  </a:cubicBezTo>
                  <a:cubicBezTo>
                    <a:pt x="396267" y="91986"/>
                    <a:pt x="402970" y="97572"/>
                    <a:pt x="410791" y="97200"/>
                  </a:cubicBezTo>
                  <a:cubicBezTo>
                    <a:pt x="415632" y="97200"/>
                    <a:pt x="420101" y="95710"/>
                    <a:pt x="424198" y="93476"/>
                  </a:cubicBezTo>
                  <a:lnTo>
                    <a:pt x="427549" y="99807"/>
                  </a:lnTo>
                  <a:cubicBezTo>
                    <a:pt x="422336" y="102786"/>
                    <a:pt x="416377" y="104648"/>
                    <a:pt x="410046" y="104648"/>
                  </a:cubicBezTo>
                  <a:cubicBezTo>
                    <a:pt x="395894" y="104648"/>
                    <a:pt x="386584" y="94593"/>
                    <a:pt x="386584" y="79697"/>
                  </a:cubicBezTo>
                  <a:cubicBezTo>
                    <a:pt x="386584" y="64800"/>
                    <a:pt x="395894" y="54000"/>
                    <a:pt x="409301" y="54000"/>
                  </a:cubicBezTo>
                  <a:close/>
                  <a:moveTo>
                    <a:pt x="465907" y="53627"/>
                  </a:moveTo>
                  <a:cubicBezTo>
                    <a:pt x="472238" y="54000"/>
                    <a:pt x="478569" y="55489"/>
                    <a:pt x="484528" y="58469"/>
                  </a:cubicBezTo>
                  <a:lnTo>
                    <a:pt x="484528" y="103531"/>
                  </a:lnTo>
                  <a:cubicBezTo>
                    <a:pt x="484528" y="110979"/>
                    <a:pt x="484155" y="116193"/>
                    <a:pt x="479686" y="120662"/>
                  </a:cubicBezTo>
                  <a:cubicBezTo>
                    <a:pt x="474845" y="124758"/>
                    <a:pt x="468886" y="126993"/>
                    <a:pt x="462555" y="126620"/>
                  </a:cubicBezTo>
                  <a:cubicBezTo>
                    <a:pt x="455480" y="126993"/>
                    <a:pt x="448404" y="124758"/>
                    <a:pt x="442445" y="120289"/>
                  </a:cubicBezTo>
                  <a:lnTo>
                    <a:pt x="446542" y="113958"/>
                  </a:lnTo>
                  <a:cubicBezTo>
                    <a:pt x="451011" y="116938"/>
                    <a:pt x="456224" y="118800"/>
                    <a:pt x="461438" y="119172"/>
                  </a:cubicBezTo>
                  <a:cubicBezTo>
                    <a:pt x="464790" y="119172"/>
                    <a:pt x="468514" y="117683"/>
                    <a:pt x="471121" y="115448"/>
                  </a:cubicBezTo>
                  <a:cubicBezTo>
                    <a:pt x="474473" y="112469"/>
                    <a:pt x="474845" y="108372"/>
                    <a:pt x="474845" y="103531"/>
                  </a:cubicBezTo>
                  <a:lnTo>
                    <a:pt x="474845" y="99807"/>
                  </a:lnTo>
                  <a:lnTo>
                    <a:pt x="473728" y="100179"/>
                  </a:lnTo>
                  <a:lnTo>
                    <a:pt x="473355" y="100551"/>
                  </a:lnTo>
                  <a:cubicBezTo>
                    <a:pt x="470004" y="102414"/>
                    <a:pt x="465907" y="103531"/>
                    <a:pt x="461811" y="103531"/>
                  </a:cubicBezTo>
                  <a:cubicBezTo>
                    <a:pt x="447286" y="103531"/>
                    <a:pt x="440583" y="91241"/>
                    <a:pt x="440583" y="79696"/>
                  </a:cubicBezTo>
                  <a:cubicBezTo>
                    <a:pt x="440583" y="78951"/>
                    <a:pt x="440583" y="78579"/>
                    <a:pt x="440583" y="77834"/>
                  </a:cubicBezTo>
                  <a:cubicBezTo>
                    <a:pt x="440955" y="64055"/>
                    <a:pt x="452128" y="53255"/>
                    <a:pt x="465907" y="53627"/>
                  </a:cubicBezTo>
                  <a:close/>
                  <a:moveTo>
                    <a:pt x="342267" y="45807"/>
                  </a:moveTo>
                  <a:lnTo>
                    <a:pt x="342267" y="68152"/>
                  </a:lnTo>
                  <a:lnTo>
                    <a:pt x="347480" y="68152"/>
                  </a:lnTo>
                  <a:cubicBezTo>
                    <a:pt x="353067" y="68152"/>
                    <a:pt x="357536" y="67780"/>
                    <a:pt x="360887" y="64800"/>
                  </a:cubicBezTo>
                  <a:cubicBezTo>
                    <a:pt x="364984" y="60331"/>
                    <a:pt x="364984" y="53628"/>
                    <a:pt x="361260" y="48786"/>
                  </a:cubicBezTo>
                  <a:cubicBezTo>
                    <a:pt x="358280" y="46552"/>
                    <a:pt x="354556" y="45435"/>
                    <a:pt x="350832" y="45807"/>
                  </a:cubicBezTo>
                  <a:close/>
                  <a:moveTo>
                    <a:pt x="505011" y="37986"/>
                  </a:moveTo>
                  <a:cubicBezTo>
                    <a:pt x="508362" y="37986"/>
                    <a:pt x="510969" y="40593"/>
                    <a:pt x="510969" y="43945"/>
                  </a:cubicBezTo>
                  <a:cubicBezTo>
                    <a:pt x="510969" y="46924"/>
                    <a:pt x="508362" y="49531"/>
                    <a:pt x="505011" y="49531"/>
                  </a:cubicBezTo>
                  <a:cubicBezTo>
                    <a:pt x="501659" y="49531"/>
                    <a:pt x="499052" y="46924"/>
                    <a:pt x="499052" y="43945"/>
                  </a:cubicBezTo>
                  <a:cubicBezTo>
                    <a:pt x="499052" y="40593"/>
                    <a:pt x="501659" y="37986"/>
                    <a:pt x="505011" y="37986"/>
                  </a:cubicBezTo>
                  <a:close/>
                  <a:moveTo>
                    <a:pt x="331839" y="37614"/>
                  </a:moveTo>
                  <a:lnTo>
                    <a:pt x="348970" y="37614"/>
                  </a:lnTo>
                  <a:cubicBezTo>
                    <a:pt x="357536" y="37614"/>
                    <a:pt x="363867" y="37986"/>
                    <a:pt x="368708" y="42828"/>
                  </a:cubicBezTo>
                  <a:cubicBezTo>
                    <a:pt x="372060" y="46180"/>
                    <a:pt x="373922" y="51021"/>
                    <a:pt x="373922" y="55862"/>
                  </a:cubicBezTo>
                  <a:cubicBezTo>
                    <a:pt x="374294" y="59959"/>
                    <a:pt x="372804" y="64428"/>
                    <a:pt x="369825" y="67407"/>
                  </a:cubicBezTo>
                  <a:cubicBezTo>
                    <a:pt x="366846" y="70386"/>
                    <a:pt x="363122" y="72248"/>
                    <a:pt x="359025" y="72621"/>
                  </a:cubicBezTo>
                  <a:cubicBezTo>
                    <a:pt x="361632" y="72993"/>
                    <a:pt x="363867" y="74483"/>
                    <a:pt x="365729" y="76345"/>
                  </a:cubicBezTo>
                  <a:cubicBezTo>
                    <a:pt x="367591" y="78952"/>
                    <a:pt x="369080" y="81559"/>
                    <a:pt x="370198" y="84538"/>
                  </a:cubicBezTo>
                  <a:lnTo>
                    <a:pt x="378391" y="103531"/>
                  </a:lnTo>
                  <a:lnTo>
                    <a:pt x="367591" y="103531"/>
                  </a:lnTo>
                  <a:lnTo>
                    <a:pt x="359770" y="86028"/>
                  </a:lnTo>
                  <a:cubicBezTo>
                    <a:pt x="355301" y="76345"/>
                    <a:pt x="352694" y="75973"/>
                    <a:pt x="345246" y="75973"/>
                  </a:cubicBezTo>
                  <a:lnTo>
                    <a:pt x="341894" y="75973"/>
                  </a:lnTo>
                  <a:lnTo>
                    <a:pt x="341894" y="103531"/>
                  </a:lnTo>
                  <a:lnTo>
                    <a:pt x="331839" y="103531"/>
                  </a:lnTo>
                  <a:close/>
                  <a:moveTo>
                    <a:pt x="131481" y="12290"/>
                  </a:moveTo>
                  <a:cubicBezTo>
                    <a:pt x="122915" y="18248"/>
                    <a:pt x="116957" y="27186"/>
                    <a:pt x="113605" y="36869"/>
                  </a:cubicBezTo>
                  <a:cubicBezTo>
                    <a:pt x="110253" y="30166"/>
                    <a:pt x="102805" y="18621"/>
                    <a:pt x="96846" y="17876"/>
                  </a:cubicBezTo>
                  <a:cubicBezTo>
                    <a:pt x="90143" y="21972"/>
                    <a:pt x="89398" y="41338"/>
                    <a:pt x="92377" y="52883"/>
                  </a:cubicBezTo>
                  <a:cubicBezTo>
                    <a:pt x="83439" y="44317"/>
                    <a:pt x="67053" y="35007"/>
                    <a:pt x="60722" y="38731"/>
                  </a:cubicBezTo>
                  <a:cubicBezTo>
                    <a:pt x="58115" y="44690"/>
                    <a:pt x="63702" y="56607"/>
                    <a:pt x="67798" y="62938"/>
                  </a:cubicBezTo>
                  <a:cubicBezTo>
                    <a:pt x="58488" y="60703"/>
                    <a:pt x="43964" y="62193"/>
                    <a:pt x="38005" y="65917"/>
                  </a:cubicBezTo>
                  <a:cubicBezTo>
                    <a:pt x="45081" y="73738"/>
                    <a:pt x="54391" y="78579"/>
                    <a:pt x="64446" y="80069"/>
                  </a:cubicBezTo>
                  <a:cubicBezTo>
                    <a:pt x="74502" y="82303"/>
                    <a:pt x="84557" y="84538"/>
                    <a:pt x="90888" y="91614"/>
                  </a:cubicBezTo>
                  <a:cubicBezTo>
                    <a:pt x="103550" y="106138"/>
                    <a:pt x="132970" y="139655"/>
                    <a:pt x="134460" y="141145"/>
                  </a:cubicBezTo>
                  <a:cubicBezTo>
                    <a:pt x="132598" y="140772"/>
                    <a:pt x="88281" y="132207"/>
                    <a:pt x="69288" y="128483"/>
                  </a:cubicBezTo>
                  <a:cubicBezTo>
                    <a:pt x="59605" y="126621"/>
                    <a:pt x="52529" y="118800"/>
                    <a:pt x="45826" y="111352"/>
                  </a:cubicBezTo>
                  <a:cubicBezTo>
                    <a:pt x="39495" y="103531"/>
                    <a:pt x="30557" y="98317"/>
                    <a:pt x="20874" y="96083"/>
                  </a:cubicBezTo>
                  <a:cubicBezTo>
                    <a:pt x="20502" y="103159"/>
                    <a:pt x="26088" y="116566"/>
                    <a:pt x="32791" y="123641"/>
                  </a:cubicBezTo>
                  <a:cubicBezTo>
                    <a:pt x="25715" y="123269"/>
                    <a:pt x="12309" y="124014"/>
                    <a:pt x="8957" y="128483"/>
                  </a:cubicBezTo>
                  <a:cubicBezTo>
                    <a:pt x="9329" y="135931"/>
                    <a:pt x="25715" y="146359"/>
                    <a:pt x="37260" y="149710"/>
                  </a:cubicBezTo>
                  <a:cubicBezTo>
                    <a:pt x="25715" y="153062"/>
                    <a:pt x="9329" y="163490"/>
                    <a:pt x="8957" y="170938"/>
                  </a:cubicBezTo>
                  <a:cubicBezTo>
                    <a:pt x="11936" y="175407"/>
                    <a:pt x="25715" y="176152"/>
                    <a:pt x="32791" y="175779"/>
                  </a:cubicBezTo>
                  <a:cubicBezTo>
                    <a:pt x="26460" y="182855"/>
                    <a:pt x="20874" y="196262"/>
                    <a:pt x="20874" y="203338"/>
                  </a:cubicBezTo>
                  <a:cubicBezTo>
                    <a:pt x="30557" y="201476"/>
                    <a:pt x="39122" y="195890"/>
                    <a:pt x="45453" y="188069"/>
                  </a:cubicBezTo>
                  <a:cubicBezTo>
                    <a:pt x="52157" y="180248"/>
                    <a:pt x="59233" y="172428"/>
                    <a:pt x="68915" y="170566"/>
                  </a:cubicBezTo>
                  <a:cubicBezTo>
                    <a:pt x="87908" y="166841"/>
                    <a:pt x="131853" y="158276"/>
                    <a:pt x="134088" y="157903"/>
                  </a:cubicBezTo>
                  <a:cubicBezTo>
                    <a:pt x="132598" y="159393"/>
                    <a:pt x="103177" y="192910"/>
                    <a:pt x="90515" y="207434"/>
                  </a:cubicBezTo>
                  <a:cubicBezTo>
                    <a:pt x="84184" y="214883"/>
                    <a:pt x="74129" y="216745"/>
                    <a:pt x="64074" y="218979"/>
                  </a:cubicBezTo>
                  <a:cubicBezTo>
                    <a:pt x="53646" y="220469"/>
                    <a:pt x="44336" y="225310"/>
                    <a:pt x="37633" y="233131"/>
                  </a:cubicBezTo>
                  <a:cubicBezTo>
                    <a:pt x="43591" y="236483"/>
                    <a:pt x="58115" y="238345"/>
                    <a:pt x="67426" y="236110"/>
                  </a:cubicBezTo>
                  <a:cubicBezTo>
                    <a:pt x="63702" y="242069"/>
                    <a:pt x="57371" y="254359"/>
                    <a:pt x="58860" y="259572"/>
                  </a:cubicBezTo>
                  <a:cubicBezTo>
                    <a:pt x="65936" y="263297"/>
                    <a:pt x="81950" y="255103"/>
                    <a:pt x="91260" y="246166"/>
                  </a:cubicBezTo>
                  <a:cubicBezTo>
                    <a:pt x="88281" y="258455"/>
                    <a:pt x="89398" y="276331"/>
                    <a:pt x="96102" y="280800"/>
                  </a:cubicBezTo>
                  <a:cubicBezTo>
                    <a:pt x="101688" y="280055"/>
                    <a:pt x="109136" y="268138"/>
                    <a:pt x="112488" y="261807"/>
                  </a:cubicBezTo>
                  <a:cubicBezTo>
                    <a:pt x="115839" y="271490"/>
                    <a:pt x="122170" y="280055"/>
                    <a:pt x="130364" y="286386"/>
                  </a:cubicBezTo>
                  <a:cubicBezTo>
                    <a:pt x="133715" y="276703"/>
                    <a:pt x="133343" y="266276"/>
                    <a:pt x="129619" y="256593"/>
                  </a:cubicBezTo>
                  <a:cubicBezTo>
                    <a:pt x="126639" y="247283"/>
                    <a:pt x="123660" y="237600"/>
                    <a:pt x="126639" y="228290"/>
                  </a:cubicBezTo>
                  <a:cubicBezTo>
                    <a:pt x="132970" y="209669"/>
                    <a:pt x="147122" y="167586"/>
                    <a:pt x="147867" y="165724"/>
                  </a:cubicBezTo>
                  <a:cubicBezTo>
                    <a:pt x="148612" y="167959"/>
                    <a:pt x="162764" y="209669"/>
                    <a:pt x="169095" y="228290"/>
                  </a:cubicBezTo>
                  <a:cubicBezTo>
                    <a:pt x="172446" y="237228"/>
                    <a:pt x="169095" y="247283"/>
                    <a:pt x="166115" y="256593"/>
                  </a:cubicBezTo>
                  <a:cubicBezTo>
                    <a:pt x="162391" y="266276"/>
                    <a:pt x="162019" y="276703"/>
                    <a:pt x="165370" y="286386"/>
                  </a:cubicBezTo>
                  <a:cubicBezTo>
                    <a:pt x="173936" y="280055"/>
                    <a:pt x="179895" y="271490"/>
                    <a:pt x="183246" y="261807"/>
                  </a:cubicBezTo>
                  <a:cubicBezTo>
                    <a:pt x="186598" y="268510"/>
                    <a:pt x="194046" y="280055"/>
                    <a:pt x="199632" y="280800"/>
                  </a:cubicBezTo>
                  <a:cubicBezTo>
                    <a:pt x="206336" y="276703"/>
                    <a:pt x="207826" y="258828"/>
                    <a:pt x="204474" y="246166"/>
                  </a:cubicBezTo>
                  <a:cubicBezTo>
                    <a:pt x="213784" y="255476"/>
                    <a:pt x="229798" y="263297"/>
                    <a:pt x="236874" y="259572"/>
                  </a:cubicBezTo>
                  <a:cubicBezTo>
                    <a:pt x="239108" y="254359"/>
                    <a:pt x="232777" y="242069"/>
                    <a:pt x="229053" y="236110"/>
                  </a:cubicBezTo>
                  <a:cubicBezTo>
                    <a:pt x="238363" y="238345"/>
                    <a:pt x="252888" y="236855"/>
                    <a:pt x="258846" y="233131"/>
                  </a:cubicBezTo>
                  <a:cubicBezTo>
                    <a:pt x="252143" y="225310"/>
                    <a:pt x="242460" y="220469"/>
                    <a:pt x="232405" y="218979"/>
                  </a:cubicBezTo>
                  <a:cubicBezTo>
                    <a:pt x="222350" y="216745"/>
                    <a:pt x="212294" y="214510"/>
                    <a:pt x="205963" y="207434"/>
                  </a:cubicBezTo>
                  <a:cubicBezTo>
                    <a:pt x="193301" y="192910"/>
                    <a:pt x="163881" y="159393"/>
                    <a:pt x="162391" y="157903"/>
                  </a:cubicBezTo>
                  <a:cubicBezTo>
                    <a:pt x="164253" y="158276"/>
                    <a:pt x="208570" y="166841"/>
                    <a:pt x="227563" y="170566"/>
                  </a:cubicBezTo>
                  <a:cubicBezTo>
                    <a:pt x="237246" y="172428"/>
                    <a:pt x="244322" y="180248"/>
                    <a:pt x="251025" y="187697"/>
                  </a:cubicBezTo>
                  <a:cubicBezTo>
                    <a:pt x="257357" y="195517"/>
                    <a:pt x="266294" y="200731"/>
                    <a:pt x="275977" y="202966"/>
                  </a:cubicBezTo>
                  <a:cubicBezTo>
                    <a:pt x="276350" y="195890"/>
                    <a:pt x="270763" y="182483"/>
                    <a:pt x="264060" y="175407"/>
                  </a:cubicBezTo>
                  <a:cubicBezTo>
                    <a:pt x="271136" y="175779"/>
                    <a:pt x="284543" y="175034"/>
                    <a:pt x="289384" y="170938"/>
                  </a:cubicBezTo>
                  <a:cubicBezTo>
                    <a:pt x="289384" y="163490"/>
                    <a:pt x="272625" y="153062"/>
                    <a:pt x="261081" y="149710"/>
                  </a:cubicBezTo>
                  <a:cubicBezTo>
                    <a:pt x="272625" y="146359"/>
                    <a:pt x="289012" y="135931"/>
                    <a:pt x="289384" y="128483"/>
                  </a:cubicBezTo>
                  <a:cubicBezTo>
                    <a:pt x="286032" y="124014"/>
                    <a:pt x="272625" y="123269"/>
                    <a:pt x="265550" y="123641"/>
                  </a:cubicBezTo>
                  <a:cubicBezTo>
                    <a:pt x="271881" y="116566"/>
                    <a:pt x="277467" y="103159"/>
                    <a:pt x="277467" y="96083"/>
                  </a:cubicBezTo>
                  <a:cubicBezTo>
                    <a:pt x="267412" y="97945"/>
                    <a:pt x="258846" y="103531"/>
                    <a:pt x="252515" y="111352"/>
                  </a:cubicBezTo>
                  <a:cubicBezTo>
                    <a:pt x="245812" y="118800"/>
                    <a:pt x="238736" y="126621"/>
                    <a:pt x="229053" y="128483"/>
                  </a:cubicBezTo>
                  <a:cubicBezTo>
                    <a:pt x="210060" y="132207"/>
                    <a:pt x="165743" y="140772"/>
                    <a:pt x="163881" y="141145"/>
                  </a:cubicBezTo>
                  <a:cubicBezTo>
                    <a:pt x="165370" y="139655"/>
                    <a:pt x="194791" y="106138"/>
                    <a:pt x="207453" y="91614"/>
                  </a:cubicBezTo>
                  <a:cubicBezTo>
                    <a:pt x="213784" y="84166"/>
                    <a:pt x="223839" y="82303"/>
                    <a:pt x="233894" y="80069"/>
                  </a:cubicBezTo>
                  <a:cubicBezTo>
                    <a:pt x="244322" y="78952"/>
                    <a:pt x="253632" y="73738"/>
                    <a:pt x="260336" y="65917"/>
                  </a:cubicBezTo>
                  <a:cubicBezTo>
                    <a:pt x="254005" y="62193"/>
                    <a:pt x="239853" y="60703"/>
                    <a:pt x="230543" y="62938"/>
                  </a:cubicBezTo>
                  <a:cubicBezTo>
                    <a:pt x="234639" y="56607"/>
                    <a:pt x="240226" y="44690"/>
                    <a:pt x="237619" y="38731"/>
                  </a:cubicBezTo>
                  <a:cubicBezTo>
                    <a:pt x="231288" y="35379"/>
                    <a:pt x="214529" y="44317"/>
                    <a:pt x="205963" y="52883"/>
                  </a:cubicBezTo>
                  <a:cubicBezTo>
                    <a:pt x="208943" y="41338"/>
                    <a:pt x="207826" y="21600"/>
                    <a:pt x="201495" y="17876"/>
                  </a:cubicBezTo>
                  <a:cubicBezTo>
                    <a:pt x="195536" y="18621"/>
                    <a:pt x="187715" y="30166"/>
                    <a:pt x="184363" y="36869"/>
                  </a:cubicBezTo>
                  <a:cubicBezTo>
                    <a:pt x="181384" y="27559"/>
                    <a:pt x="172819" y="16014"/>
                    <a:pt x="166488" y="12290"/>
                  </a:cubicBezTo>
                  <a:cubicBezTo>
                    <a:pt x="163136" y="21972"/>
                    <a:pt x="163508" y="32400"/>
                    <a:pt x="167232" y="42083"/>
                  </a:cubicBezTo>
                  <a:cubicBezTo>
                    <a:pt x="170212" y="51393"/>
                    <a:pt x="173191" y="61076"/>
                    <a:pt x="170212" y="70386"/>
                  </a:cubicBezTo>
                  <a:cubicBezTo>
                    <a:pt x="164253" y="89007"/>
                    <a:pt x="149729" y="131090"/>
                    <a:pt x="148984" y="132952"/>
                  </a:cubicBezTo>
                  <a:cubicBezTo>
                    <a:pt x="148239" y="130717"/>
                    <a:pt x="134088" y="89007"/>
                    <a:pt x="127757" y="70386"/>
                  </a:cubicBezTo>
                  <a:cubicBezTo>
                    <a:pt x="124405" y="61448"/>
                    <a:pt x="127757" y="51393"/>
                    <a:pt x="130736" y="42083"/>
                  </a:cubicBezTo>
                  <a:cubicBezTo>
                    <a:pt x="134460" y="32772"/>
                    <a:pt x="134833" y="21972"/>
                    <a:pt x="131481" y="12290"/>
                  </a:cubicBezTo>
                  <a:close/>
                  <a:moveTo>
                    <a:pt x="134833" y="0"/>
                  </a:moveTo>
                  <a:cubicBezTo>
                    <a:pt x="151591" y="32772"/>
                    <a:pt x="131853" y="41338"/>
                    <a:pt x="134833" y="67779"/>
                  </a:cubicBezTo>
                  <a:cubicBezTo>
                    <a:pt x="138557" y="78952"/>
                    <a:pt x="144515" y="96828"/>
                    <a:pt x="148239" y="107255"/>
                  </a:cubicBezTo>
                  <a:cubicBezTo>
                    <a:pt x="152336" y="94966"/>
                    <a:pt x="157922" y="78207"/>
                    <a:pt x="161646" y="67779"/>
                  </a:cubicBezTo>
                  <a:cubicBezTo>
                    <a:pt x="164253" y="40966"/>
                    <a:pt x="144888" y="32400"/>
                    <a:pt x="161646" y="0"/>
                  </a:cubicBezTo>
                  <a:cubicBezTo>
                    <a:pt x="170584" y="4469"/>
                    <a:pt x="178777" y="11172"/>
                    <a:pt x="184363" y="19738"/>
                  </a:cubicBezTo>
                  <a:cubicBezTo>
                    <a:pt x="190322" y="12662"/>
                    <a:pt x="196281" y="8938"/>
                    <a:pt x="202612" y="9310"/>
                  </a:cubicBezTo>
                  <a:cubicBezTo>
                    <a:pt x="208943" y="12662"/>
                    <a:pt x="214157" y="21228"/>
                    <a:pt x="214901" y="34634"/>
                  </a:cubicBezTo>
                  <a:cubicBezTo>
                    <a:pt x="227191" y="27931"/>
                    <a:pt x="236501" y="29048"/>
                    <a:pt x="242088" y="32400"/>
                  </a:cubicBezTo>
                  <a:cubicBezTo>
                    <a:pt x="246557" y="38731"/>
                    <a:pt x="244322" y="49159"/>
                    <a:pt x="242832" y="53255"/>
                  </a:cubicBezTo>
                  <a:cubicBezTo>
                    <a:pt x="253260" y="53628"/>
                    <a:pt x="262943" y="57352"/>
                    <a:pt x="271136" y="62938"/>
                  </a:cubicBezTo>
                  <a:cubicBezTo>
                    <a:pt x="251770" y="93848"/>
                    <a:pt x="233894" y="81186"/>
                    <a:pt x="212294" y="96828"/>
                  </a:cubicBezTo>
                  <a:cubicBezTo>
                    <a:pt x="204101" y="106138"/>
                    <a:pt x="190322" y="121779"/>
                    <a:pt x="184736" y="128110"/>
                  </a:cubicBezTo>
                  <a:cubicBezTo>
                    <a:pt x="195536" y="125876"/>
                    <a:pt x="214157" y="122152"/>
                    <a:pt x="226074" y="119917"/>
                  </a:cubicBezTo>
                  <a:cubicBezTo>
                    <a:pt x="250281" y="109490"/>
                    <a:pt x="248046" y="87890"/>
                    <a:pt x="284543" y="85655"/>
                  </a:cubicBezTo>
                  <a:cubicBezTo>
                    <a:pt x="285660" y="95710"/>
                    <a:pt x="283798" y="106138"/>
                    <a:pt x="279329" y="115448"/>
                  </a:cubicBezTo>
                  <a:cubicBezTo>
                    <a:pt x="285288" y="116566"/>
                    <a:pt x="293481" y="119172"/>
                    <a:pt x="296460" y="125876"/>
                  </a:cubicBezTo>
                  <a:cubicBezTo>
                    <a:pt x="296460" y="133324"/>
                    <a:pt x="291991" y="141890"/>
                    <a:pt x="280074" y="149338"/>
                  </a:cubicBezTo>
                  <a:cubicBezTo>
                    <a:pt x="291619" y="156786"/>
                    <a:pt x="296832" y="165724"/>
                    <a:pt x="296460" y="173172"/>
                  </a:cubicBezTo>
                  <a:cubicBezTo>
                    <a:pt x="293481" y="179876"/>
                    <a:pt x="285660" y="182483"/>
                    <a:pt x="279329" y="183600"/>
                  </a:cubicBezTo>
                  <a:cubicBezTo>
                    <a:pt x="283798" y="192910"/>
                    <a:pt x="285660" y="203338"/>
                    <a:pt x="284543" y="213393"/>
                  </a:cubicBezTo>
                  <a:cubicBezTo>
                    <a:pt x="248791" y="211531"/>
                    <a:pt x="249908" y="189559"/>
                    <a:pt x="226074" y="179131"/>
                  </a:cubicBezTo>
                  <a:cubicBezTo>
                    <a:pt x="214529" y="176897"/>
                    <a:pt x="195536" y="173172"/>
                    <a:pt x="184736" y="170938"/>
                  </a:cubicBezTo>
                  <a:cubicBezTo>
                    <a:pt x="192184" y="179131"/>
                    <a:pt x="204474" y="193283"/>
                    <a:pt x="212294" y="202221"/>
                  </a:cubicBezTo>
                  <a:cubicBezTo>
                    <a:pt x="233894" y="217862"/>
                    <a:pt x="251398" y="205200"/>
                    <a:pt x="271136" y="236110"/>
                  </a:cubicBezTo>
                  <a:cubicBezTo>
                    <a:pt x="262943" y="241697"/>
                    <a:pt x="253260" y="245048"/>
                    <a:pt x="243205" y="245793"/>
                  </a:cubicBezTo>
                  <a:cubicBezTo>
                    <a:pt x="245812" y="251752"/>
                    <a:pt x="247301" y="259945"/>
                    <a:pt x="243205" y="265903"/>
                  </a:cubicBezTo>
                  <a:cubicBezTo>
                    <a:pt x="236874" y="269628"/>
                    <a:pt x="226819" y="270000"/>
                    <a:pt x="214901" y="264041"/>
                  </a:cubicBezTo>
                  <a:cubicBezTo>
                    <a:pt x="214157" y="277448"/>
                    <a:pt x="208570" y="285641"/>
                    <a:pt x="202239" y="289366"/>
                  </a:cubicBezTo>
                  <a:cubicBezTo>
                    <a:pt x="194791" y="290110"/>
                    <a:pt x="187715" y="283407"/>
                    <a:pt x="184363" y="278938"/>
                  </a:cubicBezTo>
                  <a:cubicBezTo>
                    <a:pt x="178777" y="287503"/>
                    <a:pt x="170957" y="294207"/>
                    <a:pt x="161646" y="298676"/>
                  </a:cubicBezTo>
                  <a:cubicBezTo>
                    <a:pt x="144888" y="266648"/>
                    <a:pt x="164253" y="257338"/>
                    <a:pt x="161646" y="230897"/>
                  </a:cubicBezTo>
                  <a:cubicBezTo>
                    <a:pt x="157922" y="219724"/>
                    <a:pt x="151964" y="201848"/>
                    <a:pt x="148239" y="191421"/>
                  </a:cubicBezTo>
                  <a:cubicBezTo>
                    <a:pt x="144143" y="203710"/>
                    <a:pt x="138557" y="220469"/>
                    <a:pt x="134833" y="230897"/>
                  </a:cubicBezTo>
                  <a:cubicBezTo>
                    <a:pt x="131853" y="257710"/>
                    <a:pt x="151591" y="265903"/>
                    <a:pt x="134833" y="298676"/>
                  </a:cubicBezTo>
                  <a:cubicBezTo>
                    <a:pt x="125522" y="294207"/>
                    <a:pt x="117701" y="287503"/>
                    <a:pt x="112115" y="278938"/>
                  </a:cubicBezTo>
                  <a:cubicBezTo>
                    <a:pt x="108764" y="283407"/>
                    <a:pt x="101688" y="290110"/>
                    <a:pt x="94239" y="289366"/>
                  </a:cubicBezTo>
                  <a:cubicBezTo>
                    <a:pt x="87536" y="286014"/>
                    <a:pt x="82322" y="277448"/>
                    <a:pt x="81577" y="264041"/>
                  </a:cubicBezTo>
                  <a:cubicBezTo>
                    <a:pt x="69660" y="270372"/>
                    <a:pt x="59605" y="269628"/>
                    <a:pt x="53274" y="265903"/>
                  </a:cubicBezTo>
                  <a:cubicBezTo>
                    <a:pt x="49177" y="259945"/>
                    <a:pt x="51040" y="251752"/>
                    <a:pt x="53274" y="245793"/>
                  </a:cubicBezTo>
                  <a:cubicBezTo>
                    <a:pt x="43219" y="245421"/>
                    <a:pt x="33536" y="241697"/>
                    <a:pt x="25343" y="236110"/>
                  </a:cubicBezTo>
                  <a:cubicBezTo>
                    <a:pt x="44708" y="205200"/>
                    <a:pt x="62584" y="217862"/>
                    <a:pt x="84184" y="202221"/>
                  </a:cubicBezTo>
                  <a:cubicBezTo>
                    <a:pt x="92005" y="193283"/>
                    <a:pt x="104295" y="179131"/>
                    <a:pt x="111743" y="170938"/>
                  </a:cubicBezTo>
                  <a:cubicBezTo>
                    <a:pt x="98708" y="173545"/>
                    <a:pt x="81205" y="176897"/>
                    <a:pt x="70405" y="179131"/>
                  </a:cubicBezTo>
                  <a:cubicBezTo>
                    <a:pt x="46198" y="189559"/>
                    <a:pt x="47688" y="211531"/>
                    <a:pt x="11936" y="213393"/>
                  </a:cubicBezTo>
                  <a:cubicBezTo>
                    <a:pt x="10819" y="203338"/>
                    <a:pt x="12681" y="192910"/>
                    <a:pt x="17150" y="183600"/>
                  </a:cubicBezTo>
                  <a:cubicBezTo>
                    <a:pt x="11191" y="182483"/>
                    <a:pt x="2998" y="179876"/>
                    <a:pt x="19" y="173172"/>
                  </a:cubicBezTo>
                  <a:cubicBezTo>
                    <a:pt x="-354" y="165724"/>
                    <a:pt x="4488" y="157159"/>
                    <a:pt x="16405" y="149710"/>
                  </a:cubicBezTo>
                  <a:cubicBezTo>
                    <a:pt x="4488" y="142262"/>
                    <a:pt x="19" y="133324"/>
                    <a:pt x="19" y="126248"/>
                  </a:cubicBezTo>
                  <a:cubicBezTo>
                    <a:pt x="2998" y="119545"/>
                    <a:pt x="10819" y="116938"/>
                    <a:pt x="17150" y="115821"/>
                  </a:cubicBezTo>
                  <a:cubicBezTo>
                    <a:pt x="12681" y="106510"/>
                    <a:pt x="10819" y="96083"/>
                    <a:pt x="11936" y="86028"/>
                  </a:cubicBezTo>
                  <a:cubicBezTo>
                    <a:pt x="48433" y="88262"/>
                    <a:pt x="46571" y="109862"/>
                    <a:pt x="70405" y="120290"/>
                  </a:cubicBezTo>
                  <a:cubicBezTo>
                    <a:pt x="81950" y="122897"/>
                    <a:pt x="100943" y="126248"/>
                    <a:pt x="111743" y="128483"/>
                  </a:cubicBezTo>
                  <a:cubicBezTo>
                    <a:pt x="106157" y="122524"/>
                    <a:pt x="92377" y="106510"/>
                    <a:pt x="84184" y="97200"/>
                  </a:cubicBezTo>
                  <a:cubicBezTo>
                    <a:pt x="62584" y="81559"/>
                    <a:pt x="45081" y="94593"/>
                    <a:pt x="25343" y="63683"/>
                  </a:cubicBezTo>
                  <a:cubicBezTo>
                    <a:pt x="33908" y="57724"/>
                    <a:pt x="43591" y="54372"/>
                    <a:pt x="53646" y="53628"/>
                  </a:cubicBezTo>
                  <a:cubicBezTo>
                    <a:pt x="52157" y="49159"/>
                    <a:pt x="49922" y="39103"/>
                    <a:pt x="54391" y="32400"/>
                  </a:cubicBezTo>
                  <a:cubicBezTo>
                    <a:pt x="59977" y="28676"/>
                    <a:pt x="68915" y="27931"/>
                    <a:pt x="81577" y="34634"/>
                  </a:cubicBezTo>
                  <a:cubicBezTo>
                    <a:pt x="82322" y="21228"/>
                    <a:pt x="87536" y="12662"/>
                    <a:pt x="93867" y="9310"/>
                  </a:cubicBezTo>
                  <a:cubicBezTo>
                    <a:pt x="100198" y="8938"/>
                    <a:pt x="106157" y="12662"/>
                    <a:pt x="112115" y="19738"/>
                  </a:cubicBezTo>
                  <a:cubicBezTo>
                    <a:pt x="117701" y="11172"/>
                    <a:pt x="125522" y="4469"/>
                    <a:pt x="134833" y="0"/>
                  </a:cubicBezTo>
                  <a:close/>
                </a:path>
              </a:pathLst>
            </a:custGeom>
            <a:solidFill>
              <a:srgbClr val="FFFFFF"/>
            </a:solidFill>
            <a:ln w="3709" cap="flat">
              <a:noFill/>
              <a:prstDash val="solid"/>
              <a:miter/>
            </a:ln>
          </p:spPr>
          <p:txBody>
            <a:bodyPr wrap="square" rtlCol="0" anchor="ctr">
              <a:noAutofit/>
            </a:bodyPr>
            <a:lstStyle/>
            <a:p>
              <a:endParaRPr lang="sv-SE" sz="1350"/>
            </a:p>
          </p:txBody>
        </p:sp>
      </p:grpSp>
      <p:sp>
        <p:nvSpPr>
          <p:cNvPr id="4" name="xxLanguageTextBox">
            <a:extLst>
              <a:ext uri="{FF2B5EF4-FFF2-40B4-BE49-F238E27FC236}">
                <a16:creationId xmlns:a16="http://schemas.microsoft.com/office/drawing/2014/main" id="{1B8D440B-5C35-42B5-8AD4-3606CB666BB4}"/>
              </a:ext>
            </a:extLst>
          </p:cNvPr>
          <p:cNvSpPr/>
          <p:nvPr userDrawn="1">
            <p:custDataLst>
              <p:tags r:id="rId25"/>
            </p:custDataLst>
          </p:nvPr>
        </p:nvSpPr>
        <p:spPr>
          <a:xfrm>
            <a:off x="0" y="0"/>
            <a:ext cx="9525" cy="95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sv-SE" sz="1350" dirty="0" err="1"/>
          </a:p>
        </p:txBody>
      </p:sp>
    </p:spTree>
    <p:extLst>
      <p:ext uri="{BB962C8B-B14F-4D97-AF65-F5344CB8AC3E}">
        <p14:creationId xmlns:p14="http://schemas.microsoft.com/office/powerpoint/2010/main" val="8377816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Lst>
  <p:hf hdr="0" ftr="0" dt="0"/>
  <p:txStyles>
    <p:titleStyle>
      <a:lvl1pPr algn="l" defTabSz="685800" rtl="0" eaLnBrk="1" latinLnBrk="0" hangingPunct="1">
        <a:lnSpc>
          <a:spcPct val="90000"/>
        </a:lnSpc>
        <a:spcBef>
          <a:spcPct val="0"/>
        </a:spcBef>
        <a:buNone/>
        <a:defRPr sz="2100" b="1" kern="1200">
          <a:solidFill>
            <a:schemeClr val="tx1"/>
          </a:solidFill>
          <a:latin typeface="+mn-lt"/>
          <a:ea typeface="+mj-ea"/>
          <a:cs typeface="+mj-cs"/>
        </a:defRPr>
      </a:lvl1pPr>
    </p:titleStyle>
    <p:bodyStyle>
      <a:lvl1pPr marL="135000" indent="-135000" algn="l" defTabSz="685800" rtl="0" eaLnBrk="1" latinLnBrk="0" hangingPunct="1">
        <a:lnSpc>
          <a:spcPct val="110000"/>
        </a:lnSpc>
        <a:spcBef>
          <a:spcPts val="900"/>
        </a:spcBef>
        <a:buFont typeface="Arial" panose="020B0604020202020204" pitchFamily="34" charset="0"/>
        <a:buChar char="•"/>
        <a:defRPr sz="1200" kern="1200">
          <a:solidFill>
            <a:schemeClr val="tx1"/>
          </a:solidFill>
          <a:latin typeface="+mn-lt"/>
          <a:ea typeface="+mn-ea"/>
          <a:cs typeface="+mn-cs"/>
        </a:defRPr>
      </a:lvl1pPr>
      <a:lvl2pPr marL="335756" indent="-134541" algn="l" defTabSz="685800" rtl="0" eaLnBrk="1" latinLnBrk="0" hangingPunct="1">
        <a:lnSpc>
          <a:spcPct val="100000"/>
        </a:lnSpc>
        <a:spcBef>
          <a:spcPts val="450"/>
        </a:spcBef>
        <a:buFont typeface="Roboto" panose="02000000000000000000" pitchFamily="2" charset="0"/>
        <a:buChar char="—"/>
        <a:defRPr sz="1050" kern="1200">
          <a:solidFill>
            <a:schemeClr val="tx1"/>
          </a:solidFill>
          <a:latin typeface="+mn-lt"/>
          <a:ea typeface="+mn-ea"/>
          <a:cs typeface="+mn-cs"/>
        </a:defRPr>
      </a:lvl2pPr>
      <a:lvl3pPr marL="538163" indent="-134541" algn="l" defTabSz="685800"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3pPr>
      <a:lvl4pPr marL="740569" indent="-134541" algn="l" defTabSz="685800" rtl="0" eaLnBrk="1" latinLnBrk="0" hangingPunct="1">
        <a:lnSpc>
          <a:spcPct val="100000"/>
        </a:lnSpc>
        <a:spcBef>
          <a:spcPts val="450"/>
        </a:spcBef>
        <a:buFont typeface="Roboto" panose="02000000000000000000" pitchFamily="2" charset="0"/>
        <a:buChar char="—"/>
        <a:defRPr sz="1050" kern="1200">
          <a:solidFill>
            <a:schemeClr val="tx1"/>
          </a:solidFill>
          <a:latin typeface="+mn-lt"/>
          <a:ea typeface="+mn-ea"/>
          <a:cs typeface="+mn-cs"/>
        </a:defRPr>
      </a:lvl4pPr>
      <a:lvl5pPr marL="942975" indent="-134541" algn="l" defTabSz="671513" rtl="0" eaLnBrk="1" latinLnBrk="0" hangingPunct="1">
        <a:lnSpc>
          <a:spcPct val="100000"/>
        </a:lnSpc>
        <a:spcBef>
          <a:spcPts val="450"/>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32">
          <p15:clr>
            <a:srgbClr val="F26B43"/>
          </p15:clr>
        </p15:guide>
        <p15:guide id="3" pos="338">
          <p15:clr>
            <a:srgbClr val="F26B43"/>
          </p15:clr>
        </p15:guide>
        <p15:guide id="4" pos="7346">
          <p15:clr>
            <a:srgbClr val="F26B43"/>
          </p15:clr>
        </p15:guide>
        <p15:guide id="5" pos="1084">
          <p15:clr>
            <a:srgbClr val="F26B43"/>
          </p15:clr>
        </p15:guide>
        <p15:guide id="6" orient="horz" pos="1133">
          <p15:clr>
            <a:srgbClr val="F26B43"/>
          </p15:clr>
        </p15:guide>
        <p15:guide id="7" orient="horz" pos="3695">
          <p15:clr>
            <a:srgbClr val="F26B43"/>
          </p15:clr>
        </p15:guide>
        <p15:guide id="8" orient="horz" pos="3812">
          <p15:clr>
            <a:srgbClr val="F26B43"/>
          </p15:clr>
        </p15:guide>
        <p15:guide id="9" orient="horz" pos="232">
          <p15:clr>
            <a:srgbClr val="F26B43"/>
          </p15:clr>
        </p15:guide>
        <p15:guide id="10" orient="horz" pos="83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hyperlink" Target="https://sydostrasjukvardsregionen.se/regionsjukvardsledningen/motesanteckningar-2020/"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9.svg"/></Relationships>
</file>

<file path=ppt/slides/_rels/slide15.xml.rels><?xml version="1.0" encoding="UTF-8" standalone="yes"?>
<Relationships xmlns="http://schemas.openxmlformats.org/package/2006/relationships"><Relationship Id="rId2" Type="http://schemas.openxmlformats.org/officeDocument/2006/relationships/hyperlink" Target="https://sydostrasjukvardsregionen.se/samverkansgrupper/metoder-for-kunskapsstod/" TargetMode="Externa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611560" y="771550"/>
            <a:ext cx="7772400" cy="3528392"/>
          </a:xfrm>
        </p:spPr>
        <p:txBody>
          <a:bodyPr>
            <a:normAutofit fontScale="90000"/>
          </a:bodyPr>
          <a:lstStyle/>
          <a:p>
            <a:pPr algn="ctr"/>
            <a:br>
              <a:rPr lang="sv-SE" dirty="0"/>
            </a:br>
            <a:br>
              <a:rPr lang="sv-SE" dirty="0"/>
            </a:br>
            <a:r>
              <a:rPr lang="sv-SE" dirty="0"/>
              <a:t>anteckningar</a:t>
            </a:r>
            <a:br>
              <a:rPr lang="sv-SE" dirty="0"/>
            </a:br>
            <a:br>
              <a:rPr lang="sv-SE" dirty="0"/>
            </a:br>
            <a:r>
              <a:rPr lang="sv-SE" dirty="0"/>
              <a:t>RSG nätverk</a:t>
            </a:r>
            <a:br>
              <a:rPr lang="sv-SE" dirty="0"/>
            </a:br>
            <a:r>
              <a:rPr lang="sv-SE" dirty="0"/>
              <a:t>2025-04-25</a:t>
            </a:r>
            <a:br>
              <a:rPr lang="sv-SE" dirty="0"/>
            </a:br>
            <a:br>
              <a:rPr lang="sv-SE" dirty="0"/>
            </a:br>
            <a:br>
              <a:rPr lang="sv-SE" dirty="0"/>
            </a:br>
            <a:endParaRPr lang="sv-SE" sz="2700" dirty="0"/>
          </a:p>
        </p:txBody>
      </p:sp>
    </p:spTree>
    <p:extLst>
      <p:ext uri="{BB962C8B-B14F-4D97-AF65-F5344CB8AC3E}">
        <p14:creationId xmlns:p14="http://schemas.microsoft.com/office/powerpoint/2010/main" val="22081232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473294" y="411510"/>
            <a:ext cx="8229600" cy="857250"/>
          </a:xfrm>
        </p:spPr>
        <p:txBody>
          <a:bodyPr>
            <a:noAutofit/>
          </a:bodyPr>
          <a:lstStyle/>
          <a:p>
            <a:r>
              <a:rPr lang="sv-SE" sz="3200" dirty="0">
                <a:latin typeface="+mj-lt"/>
              </a:rPr>
              <a:t>Nationell högspecialiserad vård</a:t>
            </a:r>
          </a:p>
        </p:txBody>
      </p:sp>
      <p:sp>
        <p:nvSpPr>
          <p:cNvPr id="3" name="Platshållare för innehåll 2"/>
          <p:cNvSpPr>
            <a:spLocks noGrp="1"/>
          </p:cNvSpPr>
          <p:nvPr>
            <p:ph idx="1"/>
          </p:nvPr>
        </p:nvSpPr>
        <p:spPr>
          <a:xfrm>
            <a:off x="461794" y="1268760"/>
            <a:ext cx="7272808" cy="2808311"/>
          </a:xfrm>
        </p:spPr>
        <p:txBody>
          <a:bodyPr>
            <a:noAutofit/>
          </a:bodyPr>
          <a:lstStyle/>
          <a:p>
            <a:pPr>
              <a:spcBef>
                <a:spcPts val="1200"/>
              </a:spcBef>
              <a:spcAft>
                <a:spcPts val="600"/>
              </a:spcAft>
              <a:tabLst>
                <a:tab pos="810260" algn="l"/>
              </a:tabLst>
            </a:pPr>
            <a:r>
              <a:rPr lang="sv-SE" sz="1800" b="0" dirty="0">
                <a:effectLst/>
                <a:latin typeface="+mj-lt"/>
                <a:ea typeface="Times New Roman" panose="02020603050405020304" pitchFamily="18" charset="0"/>
              </a:rPr>
              <a:t>Just nu finns tre pågående utlysningar, Region Östergötland avser att söka Thoraxapertursyndrom. </a:t>
            </a:r>
            <a:endParaRPr lang="sv-SE" sz="1800" dirty="0">
              <a:effectLst/>
              <a:latin typeface="+mj-lt"/>
            </a:endParaRPr>
          </a:p>
          <a:p>
            <a:r>
              <a:rPr lang="sv-SE" sz="1800" dirty="0">
                <a:effectLst/>
                <a:latin typeface="+mj-lt"/>
              </a:rPr>
              <a:t>1) Thoraxapertursyndrom</a:t>
            </a:r>
            <a:br>
              <a:rPr lang="sv-SE" sz="1800" dirty="0">
                <a:effectLst/>
                <a:latin typeface="+mj-lt"/>
              </a:rPr>
            </a:br>
            <a:r>
              <a:rPr lang="sv-SE" sz="1800" dirty="0">
                <a:effectLst/>
                <a:latin typeface="+mj-lt"/>
              </a:rPr>
              <a:t>2) Vaskulär form av Ehlers-</a:t>
            </a:r>
            <a:r>
              <a:rPr lang="sv-SE" sz="1800" dirty="0" err="1">
                <a:effectLst/>
                <a:latin typeface="+mj-lt"/>
              </a:rPr>
              <a:t>Danlos</a:t>
            </a:r>
            <a:r>
              <a:rPr lang="sv-SE" sz="1800" dirty="0">
                <a:effectLst/>
                <a:latin typeface="+mj-lt"/>
              </a:rPr>
              <a:t> syndrom (EDS)</a:t>
            </a:r>
            <a:br>
              <a:rPr lang="sv-SE" sz="1800" dirty="0">
                <a:effectLst/>
                <a:latin typeface="+mj-lt"/>
              </a:rPr>
            </a:br>
            <a:r>
              <a:rPr lang="sv-SE" sz="1800" dirty="0">
                <a:effectLst/>
                <a:latin typeface="+mj-lt"/>
              </a:rPr>
              <a:t>3) </a:t>
            </a:r>
            <a:r>
              <a:rPr lang="sv-SE" sz="1800" dirty="0" err="1">
                <a:effectLst/>
                <a:latin typeface="+mj-lt"/>
              </a:rPr>
              <a:t>Vingskapula</a:t>
            </a:r>
            <a:endParaRPr lang="sv-SE" sz="1800" dirty="0">
              <a:effectLst/>
              <a:latin typeface="+mj-lt"/>
            </a:endParaRPr>
          </a:p>
          <a:p>
            <a:pPr>
              <a:spcAft>
                <a:spcPts val="600"/>
              </a:spcAft>
            </a:pPr>
            <a:endParaRPr lang="sv-SE" sz="1800" dirty="0">
              <a:effectLst/>
              <a:latin typeface="+mj-lt"/>
              <a:ea typeface="Times New Roman" panose="02020603050405020304" pitchFamily="18" charset="0"/>
            </a:endParaRPr>
          </a:p>
        </p:txBody>
      </p:sp>
      <p:sp>
        <p:nvSpPr>
          <p:cNvPr id="5" name="Rubrik 1"/>
          <p:cNvSpPr txBox="1">
            <a:spLocks/>
          </p:cNvSpPr>
          <p:nvPr/>
        </p:nvSpPr>
        <p:spPr>
          <a:xfrm>
            <a:off x="467544" y="411510"/>
            <a:ext cx="8229600"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a:lstStyle>
          <a:p>
            <a:endParaRPr lang="sv-SE" sz="3600" dirty="0"/>
          </a:p>
        </p:txBody>
      </p:sp>
    </p:spTree>
    <p:extLst>
      <p:ext uri="{BB962C8B-B14F-4D97-AF65-F5344CB8AC3E}">
        <p14:creationId xmlns:p14="http://schemas.microsoft.com/office/powerpoint/2010/main" val="39017674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473294" y="411510"/>
            <a:ext cx="8563202" cy="857250"/>
          </a:xfrm>
        </p:spPr>
        <p:txBody>
          <a:bodyPr>
            <a:noAutofit/>
          </a:bodyPr>
          <a:lstStyle/>
          <a:p>
            <a:r>
              <a:rPr lang="sv-SE" sz="2000" dirty="0">
                <a:latin typeface="+mj-lt"/>
                <a:ea typeface="Times New Roman" panose="02020603050405020304" pitchFamily="18" charset="0"/>
              </a:rPr>
              <a:t>S</a:t>
            </a:r>
            <a:r>
              <a:rPr lang="sv-SE" sz="2000" dirty="0">
                <a:effectLst/>
                <a:latin typeface="+mj-lt"/>
                <a:ea typeface="Times New Roman" panose="02020603050405020304" pitchFamily="18" charset="0"/>
              </a:rPr>
              <a:t>amverkansmodell för intensivvårdstransporter med US som bas</a:t>
            </a:r>
            <a:r>
              <a:rPr lang="sv-SE" sz="2000" dirty="0">
                <a:effectLst/>
                <a:latin typeface="+mj-lt"/>
              </a:rPr>
              <a:t> </a:t>
            </a:r>
            <a:r>
              <a:rPr lang="sv-SE" sz="2000" dirty="0">
                <a:effectLst/>
                <a:latin typeface="+mj-lt"/>
                <a:ea typeface="Times New Roman" panose="02020603050405020304" pitchFamily="18" charset="0"/>
              </a:rPr>
              <a:t> </a:t>
            </a:r>
            <a:br>
              <a:rPr lang="sv-SE" sz="1800" dirty="0">
                <a:effectLst/>
                <a:latin typeface="Times New Roman" panose="02020603050405020304" pitchFamily="18" charset="0"/>
                <a:ea typeface="Times New Roman" panose="02020603050405020304" pitchFamily="18" charset="0"/>
              </a:rPr>
            </a:br>
            <a:endParaRPr lang="sv-SE" sz="3200" dirty="0">
              <a:latin typeface="+mj-lt"/>
            </a:endParaRPr>
          </a:p>
        </p:txBody>
      </p:sp>
      <p:sp>
        <p:nvSpPr>
          <p:cNvPr id="3" name="Platshållare för innehåll 2"/>
          <p:cNvSpPr>
            <a:spLocks noGrp="1"/>
          </p:cNvSpPr>
          <p:nvPr>
            <p:ph idx="1"/>
          </p:nvPr>
        </p:nvSpPr>
        <p:spPr>
          <a:xfrm>
            <a:off x="611560" y="1268760"/>
            <a:ext cx="7848872" cy="3175198"/>
          </a:xfrm>
        </p:spPr>
        <p:txBody>
          <a:bodyPr>
            <a:noAutofit/>
          </a:bodyPr>
          <a:lstStyle/>
          <a:p>
            <a:pPr>
              <a:spcAft>
                <a:spcPts val="600"/>
              </a:spcAft>
            </a:pPr>
            <a:r>
              <a:rPr lang="sv-SE" sz="1800" dirty="0">
                <a:effectLst/>
                <a:latin typeface="+mj-lt"/>
                <a:ea typeface="Times New Roman" panose="02020603050405020304" pitchFamily="18" charset="0"/>
              </a:rPr>
              <a:t>En rikstäckande och regiongemensam samverkansmodell för intensivvårdstransporter finns. </a:t>
            </a:r>
          </a:p>
          <a:p>
            <a:pPr>
              <a:spcAft>
                <a:spcPts val="600"/>
              </a:spcAft>
            </a:pPr>
            <a:r>
              <a:rPr lang="sv-SE" sz="1800" dirty="0">
                <a:effectLst/>
                <a:latin typeface="+mj-lt"/>
                <a:ea typeface="Times New Roman" panose="02020603050405020304" pitchFamily="18" charset="0"/>
              </a:rPr>
              <a:t>Strukturen bygger på en bas i varje sjukvårdsregion då de flesta transporter sker inom den egna sjukvårdsregionen. </a:t>
            </a:r>
            <a:endParaRPr lang="sv-SE" sz="1800" dirty="0">
              <a:latin typeface="+mj-lt"/>
              <a:ea typeface="Times New Roman" panose="02020603050405020304" pitchFamily="18" charset="0"/>
            </a:endParaRPr>
          </a:p>
          <a:p>
            <a:pPr>
              <a:spcAft>
                <a:spcPts val="600"/>
              </a:spcAft>
            </a:pPr>
            <a:r>
              <a:rPr lang="sv-SE" sz="1800" dirty="0">
                <a:effectLst/>
                <a:latin typeface="+mj-lt"/>
                <a:ea typeface="Times New Roman" panose="02020603050405020304" pitchFamily="18" charset="0"/>
              </a:rPr>
              <a:t>Nästa steg: implementering av samverkansmodellen i Sydöstra sjukvårdsregionen med US Linköping som bas.</a:t>
            </a:r>
          </a:p>
          <a:p>
            <a:pPr>
              <a:spcAft>
                <a:spcPts val="600"/>
              </a:spcAft>
            </a:pPr>
            <a:r>
              <a:rPr lang="sv-SE" sz="1800" dirty="0">
                <a:effectLst/>
                <a:latin typeface="+mj-lt"/>
                <a:ea typeface="Times New Roman" panose="02020603050405020304" pitchFamily="18" charset="0"/>
              </a:rPr>
              <a:t>En arbetsgrupp ska tillsättas bestående av representanter från intensivvården och ambulanssjukvården från samtliga tre regioner. En tidplan för införande ska också tas fram.</a:t>
            </a:r>
          </a:p>
          <a:p>
            <a:pPr>
              <a:spcAft>
                <a:spcPts val="600"/>
              </a:spcAft>
            </a:pPr>
            <a:endParaRPr lang="sv-SE" sz="1800" dirty="0">
              <a:effectLst/>
              <a:latin typeface="+mj-lt"/>
              <a:ea typeface="Times New Roman" panose="02020603050405020304" pitchFamily="18" charset="0"/>
            </a:endParaRPr>
          </a:p>
        </p:txBody>
      </p:sp>
      <p:sp>
        <p:nvSpPr>
          <p:cNvPr id="5" name="Rubrik 1"/>
          <p:cNvSpPr txBox="1">
            <a:spLocks/>
          </p:cNvSpPr>
          <p:nvPr/>
        </p:nvSpPr>
        <p:spPr>
          <a:xfrm>
            <a:off x="467544" y="411510"/>
            <a:ext cx="8229600"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a:lstStyle>
          <a:p>
            <a:endParaRPr lang="sv-SE" sz="3600" dirty="0"/>
          </a:p>
        </p:txBody>
      </p:sp>
    </p:spTree>
    <p:extLst>
      <p:ext uri="{BB962C8B-B14F-4D97-AF65-F5344CB8AC3E}">
        <p14:creationId xmlns:p14="http://schemas.microsoft.com/office/powerpoint/2010/main" val="17386893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3600" dirty="0"/>
              <a:t>Mötesanteckningar och bilagor</a:t>
            </a:r>
          </a:p>
        </p:txBody>
      </p:sp>
      <p:sp>
        <p:nvSpPr>
          <p:cNvPr id="3" name="Platshållare för innehåll 2"/>
          <p:cNvSpPr>
            <a:spLocks noGrp="1"/>
          </p:cNvSpPr>
          <p:nvPr>
            <p:ph idx="1"/>
          </p:nvPr>
        </p:nvSpPr>
        <p:spPr>
          <a:xfrm>
            <a:off x="457200" y="2067694"/>
            <a:ext cx="8229600" cy="2448272"/>
          </a:xfrm>
        </p:spPr>
        <p:txBody>
          <a:bodyPr>
            <a:normAutofit/>
          </a:bodyPr>
          <a:lstStyle/>
          <a:p>
            <a:r>
              <a:rPr lang="sv-SE" sz="1800" dirty="0">
                <a:hlinkClick r:id="rId3"/>
              </a:rPr>
              <a:t>Mötesanteckningar och bilagor från RSL</a:t>
            </a:r>
            <a:endParaRPr lang="sv-SE" sz="1800" dirty="0"/>
          </a:p>
        </p:txBody>
      </p:sp>
    </p:spTree>
    <p:extLst>
      <p:ext uri="{BB962C8B-B14F-4D97-AF65-F5344CB8AC3E}">
        <p14:creationId xmlns:p14="http://schemas.microsoft.com/office/powerpoint/2010/main" val="41905774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tshållare för innehåll 5">
            <a:extLst>
              <a:ext uri="{FF2B5EF4-FFF2-40B4-BE49-F238E27FC236}">
                <a16:creationId xmlns:a16="http://schemas.microsoft.com/office/drawing/2014/main" id="{7F4431D9-71B3-6A09-D38F-FD2C8AB4BB40}"/>
              </a:ext>
            </a:extLst>
          </p:cNvPr>
          <p:cNvPicPr>
            <a:picLocks noGrp="1" noChangeAspect="1"/>
          </p:cNvPicPr>
          <p:nvPr>
            <p:ph idx="1"/>
          </p:nvPr>
        </p:nvPicPr>
        <p:blipFill>
          <a:blip r:embed="rId2"/>
          <a:stretch>
            <a:fillRect/>
          </a:stretch>
        </p:blipFill>
        <p:spPr>
          <a:xfrm>
            <a:off x="292999" y="90589"/>
            <a:ext cx="8558002" cy="4968671"/>
          </a:xfrm>
        </p:spPr>
      </p:pic>
    </p:spTree>
    <p:extLst>
      <p:ext uri="{BB962C8B-B14F-4D97-AF65-F5344CB8AC3E}">
        <p14:creationId xmlns:p14="http://schemas.microsoft.com/office/powerpoint/2010/main" val="574496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66918" y="408441"/>
            <a:ext cx="8229600" cy="857250"/>
          </a:xfrm>
        </p:spPr>
        <p:txBody>
          <a:bodyPr>
            <a:normAutofit/>
          </a:bodyPr>
          <a:lstStyle/>
          <a:p>
            <a:r>
              <a:rPr lang="sv-SE" sz="3600" dirty="0"/>
              <a:t>Nästa möte</a:t>
            </a:r>
          </a:p>
        </p:txBody>
      </p:sp>
      <p:sp>
        <p:nvSpPr>
          <p:cNvPr id="3" name="Platshållare för innehåll 2"/>
          <p:cNvSpPr>
            <a:spLocks noGrp="1"/>
          </p:cNvSpPr>
          <p:nvPr>
            <p:ph sz="half" idx="1"/>
          </p:nvPr>
        </p:nvSpPr>
        <p:spPr>
          <a:xfrm>
            <a:off x="457200" y="1477189"/>
            <a:ext cx="5698976" cy="2952328"/>
          </a:xfrm>
        </p:spPr>
        <p:txBody>
          <a:bodyPr>
            <a:normAutofit fontScale="70000" lnSpcReduction="20000"/>
          </a:bodyPr>
          <a:lstStyle/>
          <a:p>
            <a:endParaRPr lang="nb-NO" sz="1800" dirty="0"/>
          </a:p>
          <a:p>
            <a:pPr marL="285750" indent="-285750">
              <a:buFont typeface="Arial" panose="020B0604020202020204" pitchFamily="34" charset="0"/>
              <a:buChar char="•"/>
            </a:pPr>
            <a:r>
              <a:rPr lang="nb-NO" sz="1800" dirty="0"/>
              <a:t>2025-06-02 kl 15-16</a:t>
            </a:r>
          </a:p>
          <a:p>
            <a:pPr marL="285750" indent="-285750">
              <a:buFont typeface="Arial" panose="020B0604020202020204" pitchFamily="34" charset="0"/>
              <a:buChar char="•"/>
            </a:pPr>
            <a:endParaRPr lang="nb-NO" sz="1800" dirty="0"/>
          </a:p>
          <a:p>
            <a:pPr marL="285750" indent="-285750">
              <a:buFont typeface="Arial" panose="020B0604020202020204" pitchFamily="34" charset="0"/>
              <a:buChar char="•"/>
            </a:pPr>
            <a:r>
              <a:rPr lang="nb-NO" sz="1800" dirty="0"/>
              <a:t>2025-09-29 kl 15-16</a:t>
            </a:r>
          </a:p>
          <a:p>
            <a:pPr marL="285750" indent="-285750">
              <a:buFont typeface="Arial" panose="020B0604020202020204" pitchFamily="34" charset="0"/>
              <a:buChar char="•"/>
            </a:pPr>
            <a:endParaRPr lang="nb-NO" sz="1800" dirty="0"/>
          </a:p>
          <a:p>
            <a:pPr marL="285750" indent="-285750">
              <a:buFont typeface="Arial" panose="020B0604020202020204" pitchFamily="34" charset="0"/>
              <a:buChar char="•"/>
            </a:pPr>
            <a:r>
              <a:rPr lang="nb-NO" sz="1800" dirty="0"/>
              <a:t>2025-10-23 kl 15-16</a:t>
            </a:r>
          </a:p>
          <a:p>
            <a:pPr marL="285750" indent="-285750">
              <a:buFont typeface="Arial" panose="020B0604020202020204" pitchFamily="34" charset="0"/>
              <a:buChar char="•"/>
            </a:pPr>
            <a:endParaRPr lang="nb-NO" sz="1800" dirty="0"/>
          </a:p>
          <a:p>
            <a:pPr marL="285750" indent="-285750">
              <a:buFont typeface="Arial" panose="020B0604020202020204" pitchFamily="34" charset="0"/>
              <a:buChar char="•"/>
            </a:pPr>
            <a:r>
              <a:rPr lang="nb-NO" sz="1800" dirty="0"/>
              <a:t>2025-12-01 kl 15-16</a:t>
            </a:r>
            <a:endParaRPr lang="sv-SE" sz="1800" dirty="0"/>
          </a:p>
        </p:txBody>
      </p:sp>
      <p:sp>
        <p:nvSpPr>
          <p:cNvPr id="4" name="Platshållare för innehåll 3">
            <a:extLst>
              <a:ext uri="{FF2B5EF4-FFF2-40B4-BE49-F238E27FC236}">
                <a16:creationId xmlns:a16="http://schemas.microsoft.com/office/drawing/2014/main" id="{1633640C-8C40-3A60-8B9F-863096B029C5}"/>
              </a:ext>
            </a:extLst>
          </p:cNvPr>
          <p:cNvSpPr>
            <a:spLocks noGrp="1"/>
          </p:cNvSpPr>
          <p:nvPr>
            <p:ph sz="half" idx="2"/>
          </p:nvPr>
        </p:nvSpPr>
        <p:spPr>
          <a:xfrm>
            <a:off x="2771800" y="2571750"/>
            <a:ext cx="6192688" cy="1872208"/>
          </a:xfrm>
          <a:custGeom>
            <a:avLst/>
            <a:gdLst>
              <a:gd name="connsiteX0" fmla="*/ 0 w 6192688"/>
              <a:gd name="connsiteY0" fmla="*/ 0 h 1872208"/>
              <a:gd name="connsiteX1" fmla="*/ 624899 w 6192688"/>
              <a:gd name="connsiteY1" fmla="*/ 0 h 1872208"/>
              <a:gd name="connsiteX2" fmla="*/ 1125943 w 6192688"/>
              <a:gd name="connsiteY2" fmla="*/ 0 h 1872208"/>
              <a:gd name="connsiteX3" fmla="*/ 1688915 w 6192688"/>
              <a:gd name="connsiteY3" fmla="*/ 0 h 1872208"/>
              <a:gd name="connsiteX4" fmla="*/ 2375740 w 6192688"/>
              <a:gd name="connsiteY4" fmla="*/ 0 h 1872208"/>
              <a:gd name="connsiteX5" fmla="*/ 2814858 w 6192688"/>
              <a:gd name="connsiteY5" fmla="*/ 0 h 1872208"/>
              <a:gd name="connsiteX6" fmla="*/ 3439757 w 6192688"/>
              <a:gd name="connsiteY6" fmla="*/ 0 h 1872208"/>
              <a:gd name="connsiteX7" fmla="*/ 3878875 w 6192688"/>
              <a:gd name="connsiteY7" fmla="*/ 0 h 1872208"/>
              <a:gd name="connsiteX8" fmla="*/ 4441846 w 6192688"/>
              <a:gd name="connsiteY8" fmla="*/ 0 h 1872208"/>
              <a:gd name="connsiteX9" fmla="*/ 5066745 w 6192688"/>
              <a:gd name="connsiteY9" fmla="*/ 0 h 1872208"/>
              <a:gd name="connsiteX10" fmla="*/ 5443936 w 6192688"/>
              <a:gd name="connsiteY10" fmla="*/ 0 h 1872208"/>
              <a:gd name="connsiteX11" fmla="*/ 6192688 w 6192688"/>
              <a:gd name="connsiteY11" fmla="*/ 0 h 1872208"/>
              <a:gd name="connsiteX12" fmla="*/ 6192688 w 6192688"/>
              <a:gd name="connsiteY12" fmla="*/ 505496 h 1872208"/>
              <a:gd name="connsiteX13" fmla="*/ 6192688 w 6192688"/>
              <a:gd name="connsiteY13" fmla="*/ 1010992 h 1872208"/>
              <a:gd name="connsiteX14" fmla="*/ 6192688 w 6192688"/>
              <a:gd name="connsiteY14" fmla="*/ 1872208 h 1872208"/>
              <a:gd name="connsiteX15" fmla="*/ 5691643 w 6192688"/>
              <a:gd name="connsiteY15" fmla="*/ 1872208 h 1872208"/>
              <a:gd name="connsiteX16" fmla="*/ 5190598 w 6192688"/>
              <a:gd name="connsiteY16" fmla="*/ 1872208 h 1872208"/>
              <a:gd name="connsiteX17" fmla="*/ 4565700 w 6192688"/>
              <a:gd name="connsiteY17" fmla="*/ 1872208 h 1872208"/>
              <a:gd name="connsiteX18" fmla="*/ 4002728 w 6192688"/>
              <a:gd name="connsiteY18" fmla="*/ 1872208 h 1872208"/>
              <a:gd name="connsiteX19" fmla="*/ 3315903 w 6192688"/>
              <a:gd name="connsiteY19" fmla="*/ 1872208 h 1872208"/>
              <a:gd name="connsiteX20" fmla="*/ 2629078 w 6192688"/>
              <a:gd name="connsiteY20" fmla="*/ 1872208 h 1872208"/>
              <a:gd name="connsiteX21" fmla="*/ 2004179 w 6192688"/>
              <a:gd name="connsiteY21" fmla="*/ 1872208 h 1872208"/>
              <a:gd name="connsiteX22" fmla="*/ 1379281 w 6192688"/>
              <a:gd name="connsiteY22" fmla="*/ 1872208 h 1872208"/>
              <a:gd name="connsiteX23" fmla="*/ 754382 w 6192688"/>
              <a:gd name="connsiteY23" fmla="*/ 1872208 h 1872208"/>
              <a:gd name="connsiteX24" fmla="*/ 0 w 6192688"/>
              <a:gd name="connsiteY24" fmla="*/ 1872208 h 1872208"/>
              <a:gd name="connsiteX25" fmla="*/ 0 w 6192688"/>
              <a:gd name="connsiteY25" fmla="*/ 1366712 h 1872208"/>
              <a:gd name="connsiteX26" fmla="*/ 0 w 6192688"/>
              <a:gd name="connsiteY26" fmla="*/ 898660 h 1872208"/>
              <a:gd name="connsiteX27" fmla="*/ 0 w 6192688"/>
              <a:gd name="connsiteY27" fmla="*/ 486774 h 1872208"/>
              <a:gd name="connsiteX28" fmla="*/ 0 w 6192688"/>
              <a:gd name="connsiteY28"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192688" h="1872208" fill="none" extrusionOk="0">
                <a:moveTo>
                  <a:pt x="0" y="0"/>
                </a:moveTo>
                <a:cubicBezTo>
                  <a:pt x="279288" y="-34048"/>
                  <a:pt x="456930" y="60708"/>
                  <a:pt x="624899" y="0"/>
                </a:cubicBezTo>
                <a:cubicBezTo>
                  <a:pt x="792868" y="-60708"/>
                  <a:pt x="1004727" y="26680"/>
                  <a:pt x="1125943" y="0"/>
                </a:cubicBezTo>
                <a:cubicBezTo>
                  <a:pt x="1247159" y="-26680"/>
                  <a:pt x="1499046" y="62078"/>
                  <a:pt x="1688915" y="0"/>
                </a:cubicBezTo>
                <a:cubicBezTo>
                  <a:pt x="1878784" y="-62078"/>
                  <a:pt x="2200594" y="42616"/>
                  <a:pt x="2375740" y="0"/>
                </a:cubicBezTo>
                <a:cubicBezTo>
                  <a:pt x="2550886" y="-42616"/>
                  <a:pt x="2652148" y="47759"/>
                  <a:pt x="2814858" y="0"/>
                </a:cubicBezTo>
                <a:cubicBezTo>
                  <a:pt x="2977568" y="-47759"/>
                  <a:pt x="3251440" y="2599"/>
                  <a:pt x="3439757" y="0"/>
                </a:cubicBezTo>
                <a:cubicBezTo>
                  <a:pt x="3628074" y="-2599"/>
                  <a:pt x="3696471" y="6866"/>
                  <a:pt x="3878875" y="0"/>
                </a:cubicBezTo>
                <a:cubicBezTo>
                  <a:pt x="4061279" y="-6866"/>
                  <a:pt x="4187923" y="33607"/>
                  <a:pt x="4441846" y="0"/>
                </a:cubicBezTo>
                <a:cubicBezTo>
                  <a:pt x="4695769" y="-33607"/>
                  <a:pt x="4845828" y="28632"/>
                  <a:pt x="5066745" y="0"/>
                </a:cubicBezTo>
                <a:cubicBezTo>
                  <a:pt x="5287662" y="-28632"/>
                  <a:pt x="5360218" y="19066"/>
                  <a:pt x="5443936" y="0"/>
                </a:cubicBezTo>
                <a:cubicBezTo>
                  <a:pt x="5527654" y="-19066"/>
                  <a:pt x="6008415" y="68791"/>
                  <a:pt x="6192688" y="0"/>
                </a:cubicBezTo>
                <a:cubicBezTo>
                  <a:pt x="6246470" y="181129"/>
                  <a:pt x="6134871" y="278731"/>
                  <a:pt x="6192688" y="505496"/>
                </a:cubicBezTo>
                <a:cubicBezTo>
                  <a:pt x="6250505" y="732261"/>
                  <a:pt x="6166984" y="830267"/>
                  <a:pt x="6192688" y="1010992"/>
                </a:cubicBezTo>
                <a:cubicBezTo>
                  <a:pt x="6218392" y="1191717"/>
                  <a:pt x="6157832" y="1488932"/>
                  <a:pt x="6192688" y="1872208"/>
                </a:cubicBezTo>
                <a:cubicBezTo>
                  <a:pt x="5959144" y="1929144"/>
                  <a:pt x="5810011" y="1818994"/>
                  <a:pt x="5691643" y="1872208"/>
                </a:cubicBezTo>
                <a:cubicBezTo>
                  <a:pt x="5573275" y="1925422"/>
                  <a:pt x="5329793" y="1818269"/>
                  <a:pt x="5190598" y="1872208"/>
                </a:cubicBezTo>
                <a:cubicBezTo>
                  <a:pt x="5051404" y="1926147"/>
                  <a:pt x="4768298" y="1805377"/>
                  <a:pt x="4565700" y="1872208"/>
                </a:cubicBezTo>
                <a:cubicBezTo>
                  <a:pt x="4363102" y="1939039"/>
                  <a:pt x="4167747" y="1836086"/>
                  <a:pt x="4002728" y="1872208"/>
                </a:cubicBezTo>
                <a:cubicBezTo>
                  <a:pt x="3837709" y="1908330"/>
                  <a:pt x="3558970" y="1814340"/>
                  <a:pt x="3315903" y="1872208"/>
                </a:cubicBezTo>
                <a:cubicBezTo>
                  <a:pt x="3072837" y="1930076"/>
                  <a:pt x="2849406" y="1832181"/>
                  <a:pt x="2629078" y="1872208"/>
                </a:cubicBezTo>
                <a:cubicBezTo>
                  <a:pt x="2408750" y="1912235"/>
                  <a:pt x="2150160" y="1845347"/>
                  <a:pt x="2004179" y="1872208"/>
                </a:cubicBezTo>
                <a:cubicBezTo>
                  <a:pt x="1858198" y="1899069"/>
                  <a:pt x="1509305" y="1857017"/>
                  <a:pt x="1379281" y="1872208"/>
                </a:cubicBezTo>
                <a:cubicBezTo>
                  <a:pt x="1249257" y="1887399"/>
                  <a:pt x="891338" y="1867779"/>
                  <a:pt x="754382" y="1872208"/>
                </a:cubicBezTo>
                <a:cubicBezTo>
                  <a:pt x="617426" y="1876637"/>
                  <a:pt x="167847" y="1790904"/>
                  <a:pt x="0" y="1872208"/>
                </a:cubicBezTo>
                <a:cubicBezTo>
                  <a:pt x="-281" y="1680446"/>
                  <a:pt x="27250" y="1573807"/>
                  <a:pt x="0" y="1366712"/>
                </a:cubicBezTo>
                <a:cubicBezTo>
                  <a:pt x="-27250" y="1159617"/>
                  <a:pt x="8892" y="1098075"/>
                  <a:pt x="0" y="898660"/>
                </a:cubicBezTo>
                <a:cubicBezTo>
                  <a:pt x="-8892" y="699245"/>
                  <a:pt x="25190" y="645642"/>
                  <a:pt x="0" y="486774"/>
                </a:cubicBezTo>
                <a:cubicBezTo>
                  <a:pt x="-25190" y="327906"/>
                  <a:pt x="43779" y="144127"/>
                  <a:pt x="0" y="0"/>
                </a:cubicBezTo>
                <a:close/>
              </a:path>
              <a:path w="6192688" h="1872208" stroke="0" extrusionOk="0">
                <a:moveTo>
                  <a:pt x="0" y="0"/>
                </a:moveTo>
                <a:cubicBezTo>
                  <a:pt x="238504" y="-35277"/>
                  <a:pt x="310628" y="11390"/>
                  <a:pt x="501045" y="0"/>
                </a:cubicBezTo>
                <a:cubicBezTo>
                  <a:pt x="691463" y="-11390"/>
                  <a:pt x="757510" y="4533"/>
                  <a:pt x="878236" y="0"/>
                </a:cubicBezTo>
                <a:cubicBezTo>
                  <a:pt x="998962" y="-4533"/>
                  <a:pt x="1408791" y="39392"/>
                  <a:pt x="1565061" y="0"/>
                </a:cubicBezTo>
                <a:cubicBezTo>
                  <a:pt x="1721332" y="-39392"/>
                  <a:pt x="1844795" y="47617"/>
                  <a:pt x="2066106" y="0"/>
                </a:cubicBezTo>
                <a:cubicBezTo>
                  <a:pt x="2287417" y="-47617"/>
                  <a:pt x="2457436" y="9612"/>
                  <a:pt x="2567151" y="0"/>
                </a:cubicBezTo>
                <a:cubicBezTo>
                  <a:pt x="2676867" y="-9612"/>
                  <a:pt x="2963354" y="32311"/>
                  <a:pt x="3253976" y="0"/>
                </a:cubicBezTo>
                <a:cubicBezTo>
                  <a:pt x="3544599" y="-32311"/>
                  <a:pt x="3579703" y="4859"/>
                  <a:pt x="3693094" y="0"/>
                </a:cubicBezTo>
                <a:cubicBezTo>
                  <a:pt x="3806485" y="-4859"/>
                  <a:pt x="4214958" y="24843"/>
                  <a:pt x="4379919" y="0"/>
                </a:cubicBezTo>
                <a:cubicBezTo>
                  <a:pt x="4544880" y="-24843"/>
                  <a:pt x="4853338" y="33623"/>
                  <a:pt x="5066745" y="0"/>
                </a:cubicBezTo>
                <a:cubicBezTo>
                  <a:pt x="5280152" y="-33623"/>
                  <a:pt x="5485906" y="17307"/>
                  <a:pt x="5629716" y="0"/>
                </a:cubicBezTo>
                <a:cubicBezTo>
                  <a:pt x="5773526" y="-17307"/>
                  <a:pt x="5929237" y="54962"/>
                  <a:pt x="6192688" y="0"/>
                </a:cubicBezTo>
                <a:cubicBezTo>
                  <a:pt x="6241152" y="179397"/>
                  <a:pt x="6143907" y="259099"/>
                  <a:pt x="6192688" y="449330"/>
                </a:cubicBezTo>
                <a:cubicBezTo>
                  <a:pt x="6241469" y="639561"/>
                  <a:pt x="6170403" y="765015"/>
                  <a:pt x="6192688" y="861216"/>
                </a:cubicBezTo>
                <a:cubicBezTo>
                  <a:pt x="6214973" y="957417"/>
                  <a:pt x="6192389" y="1148168"/>
                  <a:pt x="6192688" y="1329268"/>
                </a:cubicBezTo>
                <a:cubicBezTo>
                  <a:pt x="6192987" y="1510368"/>
                  <a:pt x="6156856" y="1684262"/>
                  <a:pt x="6192688" y="1872208"/>
                </a:cubicBezTo>
                <a:cubicBezTo>
                  <a:pt x="6025307" y="1886077"/>
                  <a:pt x="5908008" y="1863041"/>
                  <a:pt x="5629716" y="1872208"/>
                </a:cubicBezTo>
                <a:cubicBezTo>
                  <a:pt x="5351424" y="1881375"/>
                  <a:pt x="5086501" y="1853900"/>
                  <a:pt x="4942891" y="1872208"/>
                </a:cubicBezTo>
                <a:cubicBezTo>
                  <a:pt x="4799281" y="1890516"/>
                  <a:pt x="4612129" y="1871940"/>
                  <a:pt x="4379919" y="1872208"/>
                </a:cubicBezTo>
                <a:cubicBezTo>
                  <a:pt x="4147709" y="1872476"/>
                  <a:pt x="4115498" y="1849756"/>
                  <a:pt x="4002728" y="1872208"/>
                </a:cubicBezTo>
                <a:cubicBezTo>
                  <a:pt x="3889958" y="1894660"/>
                  <a:pt x="3658197" y="1846735"/>
                  <a:pt x="3563610" y="1872208"/>
                </a:cubicBezTo>
                <a:cubicBezTo>
                  <a:pt x="3469023" y="1897681"/>
                  <a:pt x="3187087" y="1862519"/>
                  <a:pt x="2876785" y="1872208"/>
                </a:cubicBezTo>
                <a:cubicBezTo>
                  <a:pt x="2566484" y="1881897"/>
                  <a:pt x="2452711" y="1821484"/>
                  <a:pt x="2313813" y="1872208"/>
                </a:cubicBezTo>
                <a:cubicBezTo>
                  <a:pt x="2174915" y="1922932"/>
                  <a:pt x="2027409" y="1827617"/>
                  <a:pt x="1874696" y="1872208"/>
                </a:cubicBezTo>
                <a:cubicBezTo>
                  <a:pt x="1721983" y="1916799"/>
                  <a:pt x="1439957" y="1824030"/>
                  <a:pt x="1311724" y="1872208"/>
                </a:cubicBezTo>
                <a:cubicBezTo>
                  <a:pt x="1183491" y="1920386"/>
                  <a:pt x="1096742" y="1835254"/>
                  <a:pt x="934533" y="1872208"/>
                </a:cubicBezTo>
                <a:cubicBezTo>
                  <a:pt x="772324" y="1909162"/>
                  <a:pt x="648152" y="1858078"/>
                  <a:pt x="557342" y="1872208"/>
                </a:cubicBezTo>
                <a:cubicBezTo>
                  <a:pt x="466532" y="1886338"/>
                  <a:pt x="175152" y="1843654"/>
                  <a:pt x="0" y="1872208"/>
                </a:cubicBezTo>
                <a:cubicBezTo>
                  <a:pt x="-35551" y="1775348"/>
                  <a:pt x="45848" y="1596459"/>
                  <a:pt x="0" y="1441600"/>
                </a:cubicBezTo>
                <a:cubicBezTo>
                  <a:pt x="-45848" y="1286741"/>
                  <a:pt x="58978" y="1161264"/>
                  <a:pt x="0" y="936104"/>
                </a:cubicBezTo>
                <a:cubicBezTo>
                  <a:pt x="-58978" y="710944"/>
                  <a:pt x="820" y="576857"/>
                  <a:pt x="0" y="486774"/>
                </a:cubicBezTo>
                <a:cubicBezTo>
                  <a:pt x="-820" y="396691"/>
                  <a:pt x="49204" y="166362"/>
                  <a:pt x="0" y="0"/>
                </a:cubicBezTo>
                <a:close/>
              </a:path>
            </a:pathLst>
          </a:custGeom>
          <a:ln w="19050">
            <a:solidFill>
              <a:schemeClr val="tx1">
                <a:lumMod val="60000"/>
                <a:lumOff val="40000"/>
              </a:schemeClr>
            </a:solidFill>
            <a:extLst>
              <a:ext uri="{C807C97D-BFC1-408E-A445-0C87EB9F89A2}">
                <ask:lineSketchStyleProps xmlns:ask="http://schemas.microsoft.com/office/drawing/2018/sketchyshapes" sd="1219033472">
                  <ask:type>
                    <ask:lineSketchScribble/>
                  </ask:type>
                </ask:lineSketchStyleProps>
              </a:ext>
            </a:extLst>
          </a:ln>
        </p:spPr>
        <p:txBody>
          <a:bodyPr>
            <a:normAutofit fontScale="70000" lnSpcReduction="20000"/>
          </a:bodyPr>
          <a:lstStyle/>
          <a:p>
            <a:endParaRPr lang="sv-SE" dirty="0"/>
          </a:p>
          <a:p>
            <a:r>
              <a:rPr lang="sv-SE" dirty="0"/>
              <a:t>TEMA ?</a:t>
            </a:r>
          </a:p>
          <a:p>
            <a:r>
              <a:rPr lang="sv-SE" dirty="0"/>
              <a:t>Information ?</a:t>
            </a:r>
          </a:p>
          <a:p>
            <a:endParaRPr lang="sv-SE" dirty="0"/>
          </a:p>
          <a:p>
            <a:r>
              <a:rPr lang="sv-SE" dirty="0"/>
              <a:t>Förslag – anmäl senast två veckor innan mötestiden</a:t>
            </a:r>
          </a:p>
        </p:txBody>
      </p:sp>
      <p:pic>
        <p:nvPicPr>
          <p:cNvPr id="6" name="Bild 5" descr="Glödlampa och penna med hel fyllning">
            <a:extLst>
              <a:ext uri="{FF2B5EF4-FFF2-40B4-BE49-F238E27FC236}">
                <a16:creationId xmlns:a16="http://schemas.microsoft.com/office/drawing/2014/main" id="{F7BBF823-B399-DBB8-8185-928F2046BB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80112" y="2715766"/>
            <a:ext cx="914400" cy="914400"/>
          </a:xfrm>
          <a:prstGeom prst="rect">
            <a:avLst/>
          </a:prstGeom>
        </p:spPr>
      </p:pic>
    </p:spTree>
    <p:extLst>
      <p:ext uri="{BB962C8B-B14F-4D97-AF65-F5344CB8AC3E}">
        <p14:creationId xmlns:p14="http://schemas.microsoft.com/office/powerpoint/2010/main" val="39529707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C235505-DA0F-5055-2C55-6E687FF15EA4}"/>
              </a:ext>
            </a:extLst>
          </p:cNvPr>
          <p:cNvSpPr>
            <a:spLocks noGrp="1"/>
          </p:cNvSpPr>
          <p:nvPr>
            <p:ph type="title"/>
          </p:nvPr>
        </p:nvSpPr>
        <p:spPr>
          <a:xfrm>
            <a:off x="457200" y="198909"/>
            <a:ext cx="8229600" cy="500633"/>
          </a:xfrm>
        </p:spPr>
        <p:txBody>
          <a:bodyPr>
            <a:normAutofit fontScale="90000"/>
          </a:bodyPr>
          <a:lstStyle/>
          <a:p>
            <a:r>
              <a:rPr lang="sv-SE" sz="2800" dirty="0"/>
              <a:t>Kort rapport från var och en</a:t>
            </a:r>
          </a:p>
        </p:txBody>
      </p:sp>
      <p:sp>
        <p:nvSpPr>
          <p:cNvPr id="5" name="Platshållare för innehåll 4">
            <a:extLst>
              <a:ext uri="{FF2B5EF4-FFF2-40B4-BE49-F238E27FC236}">
                <a16:creationId xmlns:a16="http://schemas.microsoft.com/office/drawing/2014/main" id="{C052A2D8-44DC-97A7-1EDF-CDA95360E56A}"/>
              </a:ext>
            </a:extLst>
          </p:cNvPr>
          <p:cNvSpPr>
            <a:spLocks noGrp="1"/>
          </p:cNvSpPr>
          <p:nvPr>
            <p:ph idx="1"/>
          </p:nvPr>
        </p:nvSpPr>
        <p:spPr>
          <a:xfrm>
            <a:off x="457200" y="915567"/>
            <a:ext cx="8229600" cy="3600400"/>
          </a:xfrm>
        </p:spPr>
        <p:txBody>
          <a:bodyPr>
            <a:normAutofit fontScale="32500" lnSpcReduction="20000"/>
          </a:bodyPr>
          <a:lstStyle/>
          <a:p>
            <a:pPr>
              <a:lnSpc>
                <a:spcPct val="107000"/>
              </a:lnSpc>
              <a:spcAft>
                <a:spcPts val="800"/>
              </a:spcAft>
            </a:pPr>
            <a:r>
              <a:rPr lang="sv-SE" sz="2800" b="1" dirty="0">
                <a:effectLst/>
                <a:latin typeface="Calibri" panose="020F0502020204030204" pitchFamily="34" charset="0"/>
                <a:ea typeface="Calibri" panose="020F0502020204030204" pitchFamily="34" charset="0"/>
                <a:cs typeface="Times New Roman" panose="02020603050405020304" pitchFamily="18" charset="0"/>
              </a:rPr>
              <a:t>NSG metoder för kunskapsstöd  </a:t>
            </a:r>
            <a:r>
              <a:rPr lang="sv-SE" sz="2800" dirty="0">
                <a:effectLst/>
                <a:latin typeface="Calibri" panose="020F0502020204030204" pitchFamily="34" charset="0"/>
                <a:ea typeface="Calibri" panose="020F0502020204030204" pitchFamily="34" charset="0"/>
                <a:cs typeface="Times New Roman" panose="02020603050405020304" pitchFamily="18" charset="0"/>
              </a:rPr>
              <a:t>Sara informerar om uppdaterad information på sydöstra hemsidan </a:t>
            </a:r>
            <a:r>
              <a:rPr lang="sv-SE" sz="28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2"/>
              </a:rPr>
              <a:t>https://sydostrasjukvardsregionen.se/samverkansgrupper/metoder-for-kunskapsstod/</a:t>
            </a:r>
            <a:r>
              <a:rPr lang="sv-SE" sz="2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sv-SE" sz="2800" b="1" dirty="0">
                <a:effectLst/>
                <a:latin typeface="Calibri" panose="020F0502020204030204" pitchFamily="34" charset="0"/>
                <a:ea typeface="Calibri" panose="020F0502020204030204" pitchFamily="34" charset="0"/>
                <a:cs typeface="Times New Roman" panose="02020603050405020304" pitchFamily="18" charset="0"/>
              </a:rPr>
              <a:t>RSG HTA</a:t>
            </a:r>
            <a:r>
              <a:rPr lang="sv-SE" b="1" dirty="0">
                <a:latin typeface="Calibri" panose="020F0502020204030204" pitchFamily="34" charset="0"/>
                <a:ea typeface="Calibri" panose="020F0502020204030204" pitchFamily="34" charset="0"/>
                <a:cs typeface="Times New Roman" panose="02020603050405020304" pitchFamily="18" charset="0"/>
              </a:rPr>
              <a:t> </a:t>
            </a:r>
            <a:r>
              <a:rPr lang="sv-SE" sz="2800" dirty="0">
                <a:effectLst/>
                <a:latin typeface="Calibri" panose="020F0502020204030204" pitchFamily="34" charset="0"/>
                <a:ea typeface="Calibri" panose="020F0502020204030204" pitchFamily="34" charset="0"/>
                <a:cs typeface="Times New Roman" panose="02020603050405020304" pitchFamily="18" charset="0"/>
              </a:rPr>
              <a:t>Thomas beskriver att arbetet löper på bra, och har kommit igång mer i RJL</a:t>
            </a:r>
          </a:p>
          <a:p>
            <a:pPr>
              <a:lnSpc>
                <a:spcPct val="107000"/>
              </a:lnSpc>
              <a:spcAft>
                <a:spcPts val="800"/>
              </a:spcAft>
            </a:pPr>
            <a:r>
              <a:rPr lang="sv-SE" b="1" dirty="0">
                <a:latin typeface="Calibri" panose="020F0502020204030204" pitchFamily="34" charset="0"/>
                <a:ea typeface="Calibri" panose="020F0502020204030204" pitchFamily="34" charset="0"/>
                <a:cs typeface="Times New Roman" panose="02020603050405020304" pitchFamily="18" charset="0"/>
              </a:rPr>
              <a:t>RSG S</a:t>
            </a:r>
            <a:r>
              <a:rPr lang="sv-SE" sz="2800" b="1" dirty="0">
                <a:effectLst/>
                <a:latin typeface="Calibri" panose="020F0502020204030204" pitchFamily="34" charset="0"/>
                <a:ea typeface="Calibri" panose="020F0502020204030204" pitchFamily="34" charset="0"/>
                <a:cs typeface="Times New Roman" panose="02020603050405020304" pitchFamily="18" charset="0"/>
              </a:rPr>
              <a:t>tandardisering</a:t>
            </a:r>
            <a:r>
              <a:rPr lang="sv-SE" sz="2800" dirty="0">
                <a:effectLst/>
                <a:latin typeface="Calibri" panose="020F0502020204030204" pitchFamily="34" charset="0"/>
                <a:ea typeface="Calibri" panose="020F0502020204030204" pitchFamily="34" charset="0"/>
                <a:cs typeface="Times New Roman" panose="02020603050405020304" pitchFamily="18" charset="0"/>
              </a:rPr>
              <a:t> Magnus beskriver nya standards (se PPT inklippta bilder)</a:t>
            </a:r>
          </a:p>
          <a:p>
            <a:pPr>
              <a:lnSpc>
                <a:spcPct val="107000"/>
              </a:lnSpc>
              <a:spcAft>
                <a:spcPts val="800"/>
              </a:spcAft>
            </a:pPr>
            <a:r>
              <a:rPr lang="sv-SE" sz="2800" b="1" dirty="0">
                <a:effectLst/>
                <a:latin typeface="Calibri" panose="020F0502020204030204" pitchFamily="34" charset="0"/>
                <a:ea typeface="Calibri" panose="020F0502020204030204" pitchFamily="34" charset="0"/>
                <a:cs typeface="Times New Roman" panose="02020603050405020304" pitchFamily="18" charset="0"/>
              </a:rPr>
              <a:t>RSG Standardiserad vårdinformation </a:t>
            </a:r>
            <a:r>
              <a:rPr lang="sv-SE" sz="2800" dirty="0">
                <a:effectLst/>
                <a:latin typeface="Calibri" panose="020F0502020204030204" pitchFamily="34" charset="0"/>
                <a:ea typeface="Calibri" panose="020F0502020204030204" pitchFamily="34" charset="0"/>
                <a:cs typeface="Times New Roman" panose="02020603050405020304" pitchFamily="18" charset="0"/>
              </a:rPr>
              <a:t>Erik beskriver arbete med tre fokusområden pågår; handlingsplan, Levnadsvanor/Screenings och rapport om PROM data till kvalitetsregister.</a:t>
            </a:r>
          </a:p>
          <a:p>
            <a:pPr>
              <a:lnSpc>
                <a:spcPct val="107000"/>
              </a:lnSpc>
              <a:spcAft>
                <a:spcPts val="800"/>
              </a:spcAft>
            </a:pPr>
            <a:r>
              <a:rPr lang="sv-SE" sz="2800" b="1" dirty="0">
                <a:effectLst/>
                <a:latin typeface="Calibri" panose="020F0502020204030204" pitchFamily="34" charset="0"/>
                <a:ea typeface="Calibri" panose="020F0502020204030204" pitchFamily="34" charset="0"/>
                <a:cs typeface="Times New Roman" panose="02020603050405020304" pitchFamily="18" charset="0"/>
              </a:rPr>
              <a:t>RSG data och analys</a:t>
            </a:r>
            <a:r>
              <a:rPr lang="sv-SE" sz="2800" dirty="0">
                <a:effectLst/>
                <a:latin typeface="Calibri" panose="020F0502020204030204" pitchFamily="34" charset="0"/>
                <a:ea typeface="Calibri" panose="020F0502020204030204" pitchFamily="34" charset="0"/>
                <a:cs typeface="Times New Roman" panose="02020603050405020304" pitchFamily="18" charset="0"/>
              </a:rPr>
              <a:t>, Marie beskriver arbete med data för uppföljning och forskningsdata. Arbetar mycket för att hur man tillsammans kan hitt lösningar för uppföljning.</a:t>
            </a:r>
          </a:p>
          <a:p>
            <a:pPr>
              <a:lnSpc>
                <a:spcPct val="107000"/>
              </a:lnSpc>
              <a:spcAft>
                <a:spcPts val="800"/>
              </a:spcAft>
            </a:pPr>
            <a:r>
              <a:rPr lang="sv-SE" sz="2800" b="1" dirty="0">
                <a:effectLst/>
                <a:latin typeface="Calibri" panose="020F0502020204030204" pitchFamily="34" charset="0"/>
                <a:ea typeface="Calibri" panose="020F0502020204030204" pitchFamily="34" charset="0"/>
                <a:cs typeface="Times New Roman" panose="02020603050405020304" pitchFamily="18" charset="0"/>
              </a:rPr>
              <a:t>RSG medicinteknik</a:t>
            </a:r>
            <a:r>
              <a:rPr lang="sv-SE" sz="2800" dirty="0">
                <a:effectLst/>
                <a:latin typeface="Calibri" panose="020F0502020204030204" pitchFamily="34" charset="0"/>
                <a:ea typeface="Calibri" panose="020F0502020204030204" pitchFamily="34" charset="0"/>
                <a:cs typeface="Times New Roman" panose="02020603050405020304" pitchFamily="18" charset="0"/>
              </a:rPr>
              <a:t>, Marcus beskriver det pågående samarbetet ex inom el-säkerhetstester (medusa) mål att hjälpas åt. </a:t>
            </a:r>
          </a:p>
          <a:p>
            <a:pPr>
              <a:lnSpc>
                <a:spcPct val="107000"/>
              </a:lnSpc>
              <a:spcAft>
                <a:spcPts val="800"/>
              </a:spcAft>
            </a:pPr>
            <a:r>
              <a:rPr lang="sv-SE" sz="2800" b="1" dirty="0">
                <a:effectLst/>
                <a:latin typeface="Calibri" panose="020F0502020204030204" pitchFamily="34" charset="0"/>
                <a:ea typeface="Calibri" panose="020F0502020204030204" pitchFamily="34" charset="0"/>
                <a:cs typeface="Times New Roman" panose="02020603050405020304" pitchFamily="18" charset="0"/>
              </a:rPr>
              <a:t>RSG läkemedel</a:t>
            </a:r>
            <a:r>
              <a:rPr lang="sv-SE" sz="2800" dirty="0">
                <a:effectLst/>
                <a:latin typeface="Calibri" panose="020F0502020204030204" pitchFamily="34" charset="0"/>
                <a:ea typeface="Calibri" panose="020F0502020204030204" pitchFamily="34" charset="0"/>
                <a:cs typeface="Times New Roman" panose="02020603050405020304" pitchFamily="18" charset="0"/>
              </a:rPr>
              <a:t> Ulrika beskriver pågående arbete med HPV vaccin och remisser</a:t>
            </a:r>
          </a:p>
          <a:p>
            <a:pPr>
              <a:lnSpc>
                <a:spcPct val="107000"/>
              </a:lnSpc>
              <a:spcAft>
                <a:spcPts val="800"/>
              </a:spcAft>
            </a:pPr>
            <a:r>
              <a:rPr lang="sv-SE" sz="2800" b="1" dirty="0">
                <a:effectLst/>
                <a:latin typeface="Calibri" panose="020F0502020204030204" pitchFamily="34" charset="0"/>
                <a:ea typeface="Calibri" panose="020F0502020204030204" pitchFamily="34" charset="0"/>
                <a:cs typeface="Times New Roman" panose="02020603050405020304" pitchFamily="18" charset="0"/>
              </a:rPr>
              <a:t>RSG Upphandling</a:t>
            </a:r>
            <a:r>
              <a:rPr lang="sv-SE" b="1" dirty="0">
                <a:latin typeface="Calibri" panose="020F0502020204030204" pitchFamily="34" charset="0"/>
                <a:ea typeface="Calibri" panose="020F0502020204030204" pitchFamily="34" charset="0"/>
                <a:cs typeface="Times New Roman" panose="02020603050405020304" pitchFamily="18" charset="0"/>
              </a:rPr>
              <a:t> </a:t>
            </a:r>
            <a:r>
              <a:rPr lang="sv-SE" sz="2800" dirty="0">
                <a:effectLst/>
                <a:latin typeface="Calibri" panose="020F0502020204030204" pitchFamily="34" charset="0"/>
                <a:ea typeface="Calibri" panose="020F0502020204030204" pitchFamily="34" charset="0"/>
                <a:cs typeface="Times New Roman" panose="02020603050405020304" pitchFamily="18" charset="0"/>
              </a:rPr>
              <a:t>Carina beskriver upphandlingsområden (se PPT inklippta bilder)</a:t>
            </a:r>
          </a:p>
          <a:p>
            <a:pPr>
              <a:lnSpc>
                <a:spcPct val="107000"/>
              </a:lnSpc>
              <a:spcAft>
                <a:spcPts val="800"/>
              </a:spcAft>
            </a:pPr>
            <a:r>
              <a:rPr lang="sv-SE" sz="2800" b="1" dirty="0">
                <a:effectLst/>
                <a:latin typeface="Calibri" panose="020F0502020204030204" pitchFamily="34" charset="0"/>
                <a:ea typeface="Calibri" panose="020F0502020204030204" pitchFamily="34" charset="0"/>
                <a:cs typeface="Times New Roman" panose="02020603050405020304" pitchFamily="18" charset="0"/>
              </a:rPr>
              <a:t>RSG juridik och informationssäkerhet</a:t>
            </a:r>
            <a:r>
              <a:rPr lang="sv-SE" b="1" dirty="0">
                <a:latin typeface="Calibri" panose="020F0502020204030204" pitchFamily="34" charset="0"/>
                <a:ea typeface="Calibri" panose="020F0502020204030204" pitchFamily="34" charset="0"/>
                <a:cs typeface="Times New Roman" panose="02020603050405020304" pitchFamily="18" charset="0"/>
              </a:rPr>
              <a:t> </a:t>
            </a:r>
            <a:r>
              <a:rPr lang="sv-SE" sz="2800" dirty="0">
                <a:effectLst/>
                <a:latin typeface="Calibri" panose="020F0502020204030204" pitchFamily="34" charset="0"/>
                <a:ea typeface="Calibri" panose="020F0502020204030204" pitchFamily="34" charset="0"/>
                <a:cs typeface="Times New Roman" panose="02020603050405020304" pitchFamily="18" charset="0"/>
              </a:rPr>
              <a:t>Vincent beskriver att OPT projekt gemensamt kansli är avslutat. Nya områden som exempelvis radiologi och patologi och forskningsdata tillsammans med RSG forskning och </a:t>
            </a:r>
            <a:r>
              <a:rPr lang="sv-SE" sz="2800" dirty="0" err="1">
                <a:effectLst/>
                <a:latin typeface="Calibri" panose="020F0502020204030204" pitchFamily="34" charset="0"/>
                <a:ea typeface="Calibri" panose="020F0502020204030204" pitchFamily="34" charset="0"/>
                <a:cs typeface="Times New Roman" panose="02020603050405020304" pitchFamily="18" charset="0"/>
              </a:rPr>
              <a:t>life</a:t>
            </a:r>
            <a:r>
              <a:rPr lang="sv-SE" sz="2800" dirty="0">
                <a:effectLst/>
                <a:latin typeface="Calibri" panose="020F0502020204030204" pitchFamily="34" charset="0"/>
                <a:ea typeface="Calibri" panose="020F0502020204030204" pitchFamily="34" charset="0"/>
                <a:cs typeface="Times New Roman" panose="02020603050405020304" pitchFamily="18" charset="0"/>
              </a:rPr>
              <a:t> science</a:t>
            </a:r>
          </a:p>
          <a:p>
            <a:pPr>
              <a:lnSpc>
                <a:spcPct val="107000"/>
              </a:lnSpc>
              <a:spcAft>
                <a:spcPts val="800"/>
              </a:spcAft>
            </a:pPr>
            <a:r>
              <a:rPr lang="sv-SE" sz="2800" b="1" dirty="0">
                <a:effectLst/>
                <a:latin typeface="Calibri" panose="020F0502020204030204" pitchFamily="34" charset="0"/>
                <a:ea typeface="Calibri" panose="020F0502020204030204" pitchFamily="34" charset="0"/>
                <a:cs typeface="Times New Roman" panose="02020603050405020304" pitchFamily="18" charset="0"/>
              </a:rPr>
              <a:t>RSG forskning och </a:t>
            </a:r>
            <a:r>
              <a:rPr lang="sv-SE" sz="2800" b="1" dirty="0" err="1">
                <a:effectLst/>
                <a:latin typeface="Calibri" panose="020F0502020204030204" pitchFamily="34" charset="0"/>
                <a:ea typeface="Calibri" panose="020F0502020204030204" pitchFamily="34" charset="0"/>
                <a:cs typeface="Times New Roman" panose="02020603050405020304" pitchFamily="18" charset="0"/>
              </a:rPr>
              <a:t>life</a:t>
            </a:r>
            <a:r>
              <a:rPr lang="sv-SE" sz="2800" b="1" dirty="0">
                <a:effectLst/>
                <a:latin typeface="Calibri" panose="020F0502020204030204" pitchFamily="34" charset="0"/>
                <a:ea typeface="Calibri" panose="020F0502020204030204" pitchFamily="34" charset="0"/>
                <a:cs typeface="Times New Roman" panose="02020603050405020304" pitchFamily="18" charset="0"/>
              </a:rPr>
              <a:t> science</a:t>
            </a:r>
            <a:r>
              <a:rPr lang="sv-SE" sz="2800" dirty="0">
                <a:effectLst/>
                <a:latin typeface="Calibri" panose="020F0502020204030204" pitchFamily="34" charset="0"/>
                <a:ea typeface="Calibri" panose="020F0502020204030204" pitchFamily="34" charset="0"/>
                <a:cs typeface="Times New Roman" panose="02020603050405020304" pitchFamily="18" charset="0"/>
              </a:rPr>
              <a:t>, Cecilia beskriver det positiva i samarbetet över RSG grupper och pågående arbete med utveckling av hemsida. Det är också klart med gemensamt IT verktyg för förfrågningar forskningsdata</a:t>
            </a:r>
          </a:p>
          <a:p>
            <a:pPr>
              <a:lnSpc>
                <a:spcPct val="107000"/>
              </a:lnSpc>
              <a:spcAft>
                <a:spcPts val="800"/>
              </a:spcAft>
            </a:pPr>
            <a:r>
              <a:rPr lang="sv-SE" sz="2800" b="1" dirty="0">
                <a:effectLst/>
                <a:latin typeface="Calibri" panose="020F0502020204030204" pitchFamily="34" charset="0"/>
                <a:ea typeface="Calibri" panose="020F0502020204030204" pitchFamily="34" charset="0"/>
                <a:cs typeface="Times New Roman" panose="02020603050405020304" pitchFamily="18" charset="0"/>
              </a:rPr>
              <a:t>RSG hållbar utveckling</a:t>
            </a:r>
            <a:r>
              <a:rPr lang="sv-SE" sz="2800" dirty="0">
                <a:effectLst/>
                <a:latin typeface="Calibri" panose="020F0502020204030204" pitchFamily="34" charset="0"/>
                <a:ea typeface="Calibri" panose="020F0502020204030204" pitchFamily="34" charset="0"/>
                <a:cs typeface="Times New Roman" panose="02020603050405020304" pitchFamily="18" charset="0"/>
              </a:rPr>
              <a:t>. Johanna informerar att det är lite nystart i gruppen efter bemanningsförändringar. Arbete pågår med handbok för klokare materialval, de planerar även för en kommande workshop (våren 2026). </a:t>
            </a:r>
          </a:p>
          <a:p>
            <a:endParaRPr lang="sv-SE" dirty="0"/>
          </a:p>
        </p:txBody>
      </p:sp>
    </p:spTree>
    <p:extLst>
      <p:ext uri="{BB962C8B-B14F-4D97-AF65-F5344CB8AC3E}">
        <p14:creationId xmlns:p14="http://schemas.microsoft.com/office/powerpoint/2010/main" val="22437509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66918" y="408441"/>
            <a:ext cx="8229600" cy="857250"/>
          </a:xfrm>
        </p:spPr>
        <p:txBody>
          <a:bodyPr>
            <a:normAutofit fontScale="90000"/>
          </a:bodyPr>
          <a:lstStyle/>
          <a:p>
            <a:r>
              <a:rPr lang="nb-NO" sz="3600" dirty="0"/>
              <a:t>RSG standardisering </a:t>
            </a:r>
            <a:r>
              <a:rPr lang="nb-NO" sz="2700" dirty="0"/>
              <a:t>Magnus Stridsman</a:t>
            </a:r>
            <a:br>
              <a:rPr lang="sv-SE" sz="3600" dirty="0"/>
            </a:br>
            <a:endParaRPr lang="sv-SE" sz="3600" dirty="0"/>
          </a:p>
        </p:txBody>
      </p:sp>
      <p:sp>
        <p:nvSpPr>
          <p:cNvPr id="3" name="Platshållare för innehåll 2"/>
          <p:cNvSpPr>
            <a:spLocks noGrp="1"/>
          </p:cNvSpPr>
          <p:nvPr>
            <p:ph sz="half" idx="1"/>
          </p:nvPr>
        </p:nvSpPr>
        <p:spPr>
          <a:xfrm>
            <a:off x="457200" y="1265691"/>
            <a:ext cx="7139136" cy="3163826"/>
          </a:xfrm>
        </p:spPr>
        <p:txBody>
          <a:bodyPr>
            <a:normAutofit/>
          </a:bodyPr>
          <a:lstStyle/>
          <a:p>
            <a:endParaRPr lang="nb-NO" sz="1800" dirty="0"/>
          </a:p>
          <a:p>
            <a:endParaRPr lang="nb-NO" sz="1800" dirty="0"/>
          </a:p>
          <a:p>
            <a:r>
              <a:rPr lang="nb-NO" sz="1800" dirty="0"/>
              <a:t>Se efterföljande fyra bilder</a:t>
            </a:r>
          </a:p>
        </p:txBody>
      </p:sp>
      <p:pic>
        <p:nvPicPr>
          <p:cNvPr id="8" name="Bildobjekt 7">
            <a:extLst>
              <a:ext uri="{FF2B5EF4-FFF2-40B4-BE49-F238E27FC236}">
                <a16:creationId xmlns:a16="http://schemas.microsoft.com/office/drawing/2014/main" id="{CC23DC20-D2DD-9C02-F86A-E31EB6C8225A}"/>
              </a:ext>
            </a:extLst>
          </p:cNvPr>
          <p:cNvPicPr>
            <a:picLocks noChangeAspect="1"/>
          </p:cNvPicPr>
          <p:nvPr/>
        </p:nvPicPr>
        <p:blipFill>
          <a:blip r:embed="rId3"/>
          <a:stretch>
            <a:fillRect/>
          </a:stretch>
        </p:blipFill>
        <p:spPr>
          <a:xfrm>
            <a:off x="5885893" y="3022664"/>
            <a:ext cx="2142182" cy="1204977"/>
          </a:xfrm>
          <a:prstGeom prst="rect">
            <a:avLst/>
          </a:prstGeom>
        </p:spPr>
      </p:pic>
      <p:pic>
        <p:nvPicPr>
          <p:cNvPr id="9" name="Bildobjekt 8">
            <a:extLst>
              <a:ext uri="{FF2B5EF4-FFF2-40B4-BE49-F238E27FC236}">
                <a16:creationId xmlns:a16="http://schemas.microsoft.com/office/drawing/2014/main" id="{BABE2796-4812-2146-7848-1B825B43F231}"/>
              </a:ext>
            </a:extLst>
          </p:cNvPr>
          <p:cNvPicPr>
            <a:picLocks noChangeAspect="1"/>
          </p:cNvPicPr>
          <p:nvPr/>
        </p:nvPicPr>
        <p:blipFill>
          <a:blip r:embed="rId3"/>
          <a:stretch>
            <a:fillRect/>
          </a:stretch>
        </p:blipFill>
        <p:spPr>
          <a:xfrm>
            <a:off x="5003429" y="2516430"/>
            <a:ext cx="2142182" cy="1204977"/>
          </a:xfrm>
          <a:prstGeom prst="rect">
            <a:avLst/>
          </a:prstGeom>
        </p:spPr>
      </p:pic>
      <p:pic>
        <p:nvPicPr>
          <p:cNvPr id="10" name="Bildobjekt 9">
            <a:extLst>
              <a:ext uri="{FF2B5EF4-FFF2-40B4-BE49-F238E27FC236}">
                <a16:creationId xmlns:a16="http://schemas.microsoft.com/office/drawing/2014/main" id="{22E6B636-BA2C-EA7D-430A-23D2E7B35250}"/>
              </a:ext>
            </a:extLst>
          </p:cNvPr>
          <p:cNvPicPr>
            <a:picLocks noChangeAspect="1"/>
          </p:cNvPicPr>
          <p:nvPr/>
        </p:nvPicPr>
        <p:blipFill>
          <a:blip r:embed="rId3"/>
          <a:stretch>
            <a:fillRect/>
          </a:stretch>
        </p:blipFill>
        <p:spPr>
          <a:xfrm>
            <a:off x="4139952" y="2099424"/>
            <a:ext cx="2142182" cy="1204977"/>
          </a:xfrm>
          <a:prstGeom prst="rect">
            <a:avLst/>
          </a:prstGeom>
        </p:spPr>
      </p:pic>
      <p:pic>
        <p:nvPicPr>
          <p:cNvPr id="11" name="Bildobjekt 10">
            <a:extLst>
              <a:ext uri="{FF2B5EF4-FFF2-40B4-BE49-F238E27FC236}">
                <a16:creationId xmlns:a16="http://schemas.microsoft.com/office/drawing/2014/main" id="{E38D66B1-909E-473F-18F9-20272D72BD68}"/>
              </a:ext>
            </a:extLst>
          </p:cNvPr>
          <p:cNvPicPr>
            <a:picLocks noChangeAspect="1"/>
          </p:cNvPicPr>
          <p:nvPr/>
        </p:nvPicPr>
        <p:blipFill>
          <a:blip r:embed="rId4"/>
          <a:stretch>
            <a:fillRect/>
          </a:stretch>
        </p:blipFill>
        <p:spPr>
          <a:xfrm>
            <a:off x="3419872" y="1815551"/>
            <a:ext cx="2139881" cy="1207113"/>
          </a:xfrm>
          <a:prstGeom prst="rect">
            <a:avLst/>
          </a:prstGeom>
        </p:spPr>
      </p:pic>
    </p:spTree>
    <p:extLst>
      <p:ext uri="{BB962C8B-B14F-4D97-AF65-F5344CB8AC3E}">
        <p14:creationId xmlns:p14="http://schemas.microsoft.com/office/powerpoint/2010/main" val="26015973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736E0B64-651F-36B2-FF0E-6A7D5F8F8E8C}"/>
              </a:ext>
            </a:extLst>
          </p:cNvPr>
          <p:cNvSpPr>
            <a:spLocks noGrp="1"/>
          </p:cNvSpPr>
          <p:nvPr>
            <p:ph type="title"/>
          </p:nvPr>
        </p:nvSpPr>
        <p:spPr/>
        <p:txBody>
          <a:bodyPr/>
          <a:lstStyle/>
          <a:p>
            <a:r>
              <a:rPr lang="sv-SE" dirty="0"/>
              <a:t>Informationssäkerhet</a:t>
            </a:r>
          </a:p>
        </p:txBody>
      </p:sp>
      <p:sp>
        <p:nvSpPr>
          <p:cNvPr id="2" name="Platshållare för bildnummer 1">
            <a:extLst>
              <a:ext uri="{FF2B5EF4-FFF2-40B4-BE49-F238E27FC236}">
                <a16:creationId xmlns:a16="http://schemas.microsoft.com/office/drawing/2014/main" id="{37B356B8-9740-1DE2-2861-DBBADF633163}"/>
              </a:ext>
            </a:extLst>
          </p:cNvPr>
          <p:cNvSpPr>
            <a:spLocks noGrp="1"/>
          </p:cNvSpPr>
          <p:nvPr>
            <p:ph type="sldNum" sz="quarter" idx="12"/>
          </p:nvPr>
        </p:nvSpPr>
        <p:spPr/>
        <p:txBody>
          <a:bodyPr/>
          <a:lstStyle/>
          <a:p>
            <a:pPr defTabSz="685800"/>
            <a:fld id="{5204B58B-0420-4827-A2A8-7A3D043AFDDE}" type="slidenum">
              <a:rPr lang="sv-SE">
                <a:solidFill>
                  <a:prstClr val="black"/>
                </a:solidFill>
                <a:latin typeface="Roboto"/>
              </a:rPr>
              <a:pPr defTabSz="685800"/>
              <a:t>17</a:t>
            </a:fld>
            <a:endParaRPr lang="sv-SE" dirty="0">
              <a:solidFill>
                <a:prstClr val="black"/>
              </a:solidFill>
              <a:latin typeface="Roboto"/>
            </a:endParaRPr>
          </a:p>
        </p:txBody>
      </p:sp>
      <p:sp>
        <p:nvSpPr>
          <p:cNvPr id="4" name="Platshållare för innehåll 3">
            <a:extLst>
              <a:ext uri="{FF2B5EF4-FFF2-40B4-BE49-F238E27FC236}">
                <a16:creationId xmlns:a16="http://schemas.microsoft.com/office/drawing/2014/main" id="{5BAE0460-B621-98BF-3131-726C2EA2ECD7}"/>
              </a:ext>
            </a:extLst>
          </p:cNvPr>
          <p:cNvSpPr>
            <a:spLocks noGrp="1"/>
          </p:cNvSpPr>
          <p:nvPr>
            <p:ph sz="quarter" idx="13"/>
          </p:nvPr>
        </p:nvSpPr>
        <p:spPr/>
        <p:txBody>
          <a:bodyPr/>
          <a:lstStyle/>
          <a:p>
            <a:r>
              <a:rPr lang="sv-SE" sz="1800" dirty="0"/>
              <a:t>Informationsteknik – Hantering av informationssäkerhetsincidenter – Del 1: Principer och process (ISO/IEC 27035-1:2023, IDT)</a:t>
            </a:r>
          </a:p>
          <a:p>
            <a:r>
              <a:rPr lang="sv-SE" sz="1800" dirty="0"/>
              <a:t>Informationsteknik – Hantering av informationssäkerhetsincidenter – Del 2: Riktlinjer för planering och förberedelse av incidenthantering (ISO/IEC 27035-2:2023, IDT)</a:t>
            </a:r>
          </a:p>
          <a:p>
            <a:r>
              <a:rPr lang="sv-SE" sz="1800" dirty="0"/>
              <a:t>Informationsteknik - Informationssäkerhet incidenthantering - Del 3: Riktlinjer för ICT operativ behandling (ISO/IEC 27035-3:2020, IDT)</a:t>
            </a:r>
          </a:p>
          <a:p>
            <a:endParaRPr lang="sv-SE" dirty="0"/>
          </a:p>
        </p:txBody>
      </p:sp>
    </p:spTree>
    <p:extLst>
      <p:ext uri="{BB962C8B-B14F-4D97-AF65-F5344CB8AC3E}">
        <p14:creationId xmlns:p14="http://schemas.microsoft.com/office/powerpoint/2010/main" val="25805056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2A502A7-65B2-EDBC-CF67-8FA5741CB011}"/>
              </a:ext>
            </a:extLst>
          </p:cNvPr>
          <p:cNvSpPr>
            <a:spLocks noGrp="1"/>
          </p:cNvSpPr>
          <p:nvPr>
            <p:ph type="title"/>
          </p:nvPr>
        </p:nvSpPr>
        <p:spPr/>
        <p:txBody>
          <a:bodyPr/>
          <a:lstStyle/>
          <a:p>
            <a:r>
              <a:rPr lang="sv-SE" dirty="0"/>
              <a:t>Innovationsledning</a:t>
            </a:r>
          </a:p>
        </p:txBody>
      </p:sp>
      <p:sp>
        <p:nvSpPr>
          <p:cNvPr id="3" name="Platshållare för bildnummer 2">
            <a:extLst>
              <a:ext uri="{FF2B5EF4-FFF2-40B4-BE49-F238E27FC236}">
                <a16:creationId xmlns:a16="http://schemas.microsoft.com/office/drawing/2014/main" id="{0E4A16E9-1218-D535-975C-310BF1AC7271}"/>
              </a:ext>
            </a:extLst>
          </p:cNvPr>
          <p:cNvSpPr>
            <a:spLocks noGrp="1"/>
          </p:cNvSpPr>
          <p:nvPr>
            <p:ph type="sldNum" sz="quarter" idx="12"/>
          </p:nvPr>
        </p:nvSpPr>
        <p:spPr/>
        <p:txBody>
          <a:bodyPr/>
          <a:lstStyle/>
          <a:p>
            <a:pPr defTabSz="685800"/>
            <a:fld id="{5204B58B-0420-4827-A2A8-7A3D043AFDDE}" type="slidenum">
              <a:rPr lang="sv-SE">
                <a:solidFill>
                  <a:prstClr val="black"/>
                </a:solidFill>
                <a:latin typeface="Roboto"/>
              </a:rPr>
              <a:pPr defTabSz="685800"/>
              <a:t>18</a:t>
            </a:fld>
            <a:endParaRPr lang="sv-SE" dirty="0">
              <a:solidFill>
                <a:prstClr val="black"/>
              </a:solidFill>
              <a:latin typeface="Roboto"/>
            </a:endParaRPr>
          </a:p>
        </p:txBody>
      </p:sp>
      <p:sp>
        <p:nvSpPr>
          <p:cNvPr id="4" name="Platshållare för innehåll 3">
            <a:extLst>
              <a:ext uri="{FF2B5EF4-FFF2-40B4-BE49-F238E27FC236}">
                <a16:creationId xmlns:a16="http://schemas.microsoft.com/office/drawing/2014/main" id="{B4471779-22C5-E564-30D5-18F9B4831F54}"/>
              </a:ext>
            </a:extLst>
          </p:cNvPr>
          <p:cNvSpPr>
            <a:spLocks noGrp="1"/>
          </p:cNvSpPr>
          <p:nvPr>
            <p:ph sz="quarter" idx="13"/>
          </p:nvPr>
        </p:nvSpPr>
        <p:spPr/>
        <p:txBody>
          <a:bodyPr/>
          <a:lstStyle/>
          <a:p>
            <a:r>
              <a:rPr lang="sv-SE" sz="1800" dirty="0"/>
              <a:t>ISO 56000: 2025 Innovation management — Fundamentals and </a:t>
            </a:r>
            <a:r>
              <a:rPr lang="sv-SE" sz="1800" dirty="0" err="1"/>
              <a:t>vocabular</a:t>
            </a:r>
            <a:endParaRPr lang="sv-SE" sz="1800" dirty="0"/>
          </a:p>
          <a:p>
            <a:r>
              <a:rPr lang="sv-SE" sz="1800" dirty="0"/>
              <a:t>ISO 56001:2024 Innovation management system — </a:t>
            </a:r>
            <a:r>
              <a:rPr lang="sv-SE" sz="1800" dirty="0" err="1"/>
              <a:t>Requirements</a:t>
            </a:r>
            <a:endParaRPr lang="sv-SE" sz="1800" dirty="0"/>
          </a:p>
          <a:p>
            <a:r>
              <a:rPr lang="sv-SE" sz="1800" dirty="0"/>
              <a:t>SS-EN ISO 56002:2021 Innovationsledning – Ledningssystem för innovation – Vägledning (ISO 56002:2019) Innovation management – Innovation management system – </a:t>
            </a:r>
            <a:r>
              <a:rPr lang="sv-SE" sz="1800" dirty="0" err="1"/>
              <a:t>Guidance</a:t>
            </a:r>
            <a:r>
              <a:rPr lang="sv-SE" sz="1800" dirty="0"/>
              <a:t> (ISO 56002:2019)</a:t>
            </a:r>
          </a:p>
          <a:p>
            <a:endParaRPr lang="sv-SE" dirty="0"/>
          </a:p>
        </p:txBody>
      </p:sp>
    </p:spTree>
    <p:extLst>
      <p:ext uri="{BB962C8B-B14F-4D97-AF65-F5344CB8AC3E}">
        <p14:creationId xmlns:p14="http://schemas.microsoft.com/office/powerpoint/2010/main" val="28306569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B42E225-08E9-6144-B851-19E90460CFDA}"/>
              </a:ext>
            </a:extLst>
          </p:cNvPr>
          <p:cNvSpPr>
            <a:spLocks noGrp="1"/>
          </p:cNvSpPr>
          <p:nvPr>
            <p:ph type="title"/>
          </p:nvPr>
        </p:nvSpPr>
        <p:spPr/>
        <p:txBody>
          <a:bodyPr/>
          <a:lstStyle/>
          <a:p>
            <a:r>
              <a:rPr lang="sv-SE" dirty="0"/>
              <a:t>Molntjänster</a:t>
            </a:r>
          </a:p>
        </p:txBody>
      </p:sp>
      <p:sp>
        <p:nvSpPr>
          <p:cNvPr id="3" name="Platshållare för bildnummer 2">
            <a:extLst>
              <a:ext uri="{FF2B5EF4-FFF2-40B4-BE49-F238E27FC236}">
                <a16:creationId xmlns:a16="http://schemas.microsoft.com/office/drawing/2014/main" id="{F893FC8E-1C1E-003D-922A-8B160F922121}"/>
              </a:ext>
            </a:extLst>
          </p:cNvPr>
          <p:cNvSpPr>
            <a:spLocks noGrp="1"/>
          </p:cNvSpPr>
          <p:nvPr>
            <p:ph type="sldNum" sz="quarter" idx="12"/>
          </p:nvPr>
        </p:nvSpPr>
        <p:spPr/>
        <p:txBody>
          <a:bodyPr/>
          <a:lstStyle/>
          <a:p>
            <a:pPr defTabSz="685800"/>
            <a:fld id="{5204B58B-0420-4827-A2A8-7A3D043AFDDE}" type="slidenum">
              <a:rPr lang="sv-SE">
                <a:solidFill>
                  <a:prstClr val="black"/>
                </a:solidFill>
                <a:latin typeface="Roboto"/>
              </a:rPr>
              <a:pPr defTabSz="685800"/>
              <a:t>19</a:t>
            </a:fld>
            <a:endParaRPr lang="sv-SE" dirty="0">
              <a:solidFill>
                <a:prstClr val="black"/>
              </a:solidFill>
              <a:latin typeface="Roboto"/>
            </a:endParaRPr>
          </a:p>
        </p:txBody>
      </p:sp>
      <p:sp>
        <p:nvSpPr>
          <p:cNvPr id="4" name="Platshållare för innehåll 3">
            <a:extLst>
              <a:ext uri="{FF2B5EF4-FFF2-40B4-BE49-F238E27FC236}">
                <a16:creationId xmlns:a16="http://schemas.microsoft.com/office/drawing/2014/main" id="{7688CCAF-C9F7-88AD-9C90-363B172A352E}"/>
              </a:ext>
            </a:extLst>
          </p:cNvPr>
          <p:cNvSpPr>
            <a:spLocks noGrp="1"/>
          </p:cNvSpPr>
          <p:nvPr>
            <p:ph sz="quarter" idx="13"/>
          </p:nvPr>
        </p:nvSpPr>
        <p:spPr/>
        <p:txBody>
          <a:bodyPr/>
          <a:lstStyle/>
          <a:p>
            <a:r>
              <a:rPr lang="sv-SE" sz="2100" dirty="0"/>
              <a:t>Informationsteknik - Molnbaserade datortjänster - Del 1: Terminologi (ISO/IEC 22123-1:2021,IDT)</a:t>
            </a:r>
          </a:p>
          <a:p>
            <a:r>
              <a:rPr lang="sv-SE" sz="2100" dirty="0"/>
              <a:t>Informationsteknik - Molnbaserade datortjänster - Översikt och terminologi (ISO/IEC 17788:2014, IDT)</a:t>
            </a:r>
          </a:p>
          <a:p>
            <a:endParaRPr lang="sv-SE" dirty="0"/>
          </a:p>
        </p:txBody>
      </p:sp>
    </p:spTree>
    <p:extLst>
      <p:ext uri="{BB962C8B-B14F-4D97-AF65-F5344CB8AC3E}">
        <p14:creationId xmlns:p14="http://schemas.microsoft.com/office/powerpoint/2010/main" val="25482778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395536" y="375505"/>
            <a:ext cx="8229600" cy="504056"/>
          </a:xfrm>
        </p:spPr>
        <p:txBody>
          <a:bodyPr>
            <a:normAutofit fontScale="90000"/>
          </a:bodyPr>
          <a:lstStyle/>
          <a:p>
            <a:r>
              <a:rPr lang="sv-SE" sz="3600" dirty="0"/>
              <a:t>Agenda</a:t>
            </a:r>
            <a:endParaRPr lang="sv-SE" sz="2400" dirty="0"/>
          </a:p>
        </p:txBody>
      </p:sp>
      <p:sp>
        <p:nvSpPr>
          <p:cNvPr id="3" name="Platshållare för innehåll 2">
            <a:extLst>
              <a:ext uri="{FF2B5EF4-FFF2-40B4-BE49-F238E27FC236}">
                <a16:creationId xmlns:a16="http://schemas.microsoft.com/office/drawing/2014/main" id="{34B992FE-D0EE-1717-DBAF-CB43053D7F75}"/>
              </a:ext>
            </a:extLst>
          </p:cNvPr>
          <p:cNvSpPr>
            <a:spLocks noGrp="1"/>
          </p:cNvSpPr>
          <p:nvPr>
            <p:ph idx="1"/>
          </p:nvPr>
        </p:nvSpPr>
        <p:spPr>
          <a:xfrm>
            <a:off x="457200" y="948147"/>
            <a:ext cx="8229600" cy="3247206"/>
          </a:xfrm>
        </p:spPr>
        <p:txBody>
          <a:bodyPr>
            <a:normAutofit/>
          </a:bodyPr>
          <a:lstStyle/>
          <a:p>
            <a:pPr marL="457200" indent="-457200">
              <a:lnSpc>
                <a:spcPct val="150000"/>
              </a:lnSpc>
              <a:buFont typeface="Arial" panose="020B0604020202020204" pitchFamily="34" charset="0"/>
              <a:buChar char="•"/>
            </a:pPr>
            <a:r>
              <a:rPr lang="sv-SE" sz="2000" dirty="0"/>
              <a:t>Välkomna</a:t>
            </a:r>
          </a:p>
          <a:p>
            <a:pPr marL="457200" indent="-457200">
              <a:lnSpc>
                <a:spcPct val="150000"/>
              </a:lnSpc>
              <a:buFont typeface="Arial" panose="020B0604020202020204" pitchFamily="34" charset="0"/>
              <a:buChar char="•"/>
            </a:pPr>
            <a:r>
              <a:rPr lang="sv-SE" sz="2000" dirty="0"/>
              <a:t>Aktuellt från var och en</a:t>
            </a:r>
          </a:p>
          <a:p>
            <a:pPr marL="457200" indent="-457200">
              <a:lnSpc>
                <a:spcPct val="150000"/>
              </a:lnSpc>
              <a:buFont typeface="Arial" panose="020B0604020202020204" pitchFamily="34" charset="0"/>
              <a:buChar char="•"/>
            </a:pPr>
            <a:r>
              <a:rPr lang="sv-SE" sz="2000" dirty="0"/>
              <a:t>Information från Regionsjukvårdsledningen 10 april 2025</a:t>
            </a:r>
          </a:p>
          <a:p>
            <a:pPr marL="457200" indent="-457200">
              <a:lnSpc>
                <a:spcPct val="150000"/>
              </a:lnSpc>
              <a:buFont typeface="Arial" panose="020B0604020202020204" pitchFamily="34" charset="0"/>
              <a:buChar char="•"/>
            </a:pPr>
            <a:r>
              <a:rPr lang="sv-SE" sz="2000" dirty="0"/>
              <a:t>Aktuella remisser</a:t>
            </a:r>
          </a:p>
          <a:p>
            <a:pPr marL="457200" indent="-457200">
              <a:lnSpc>
                <a:spcPct val="150000"/>
              </a:lnSpc>
              <a:buFont typeface="Arial" panose="020B0604020202020204" pitchFamily="34" charset="0"/>
              <a:buChar char="•"/>
            </a:pPr>
            <a:r>
              <a:rPr lang="sv-SE" sz="2000" dirty="0"/>
              <a:t>Övrigt</a:t>
            </a:r>
          </a:p>
          <a:p>
            <a:pPr marL="457200" indent="-457200">
              <a:lnSpc>
                <a:spcPct val="150000"/>
              </a:lnSpc>
              <a:buFont typeface="Arial" panose="020B0604020202020204" pitchFamily="34" charset="0"/>
              <a:buChar char="•"/>
            </a:pPr>
            <a:r>
              <a:rPr lang="sv-SE" sz="2000" dirty="0"/>
              <a:t>Nästa möte 2 juni </a:t>
            </a:r>
            <a:r>
              <a:rPr lang="sv-SE" sz="2000" dirty="0" err="1"/>
              <a:t>kl</a:t>
            </a:r>
            <a:r>
              <a:rPr lang="sv-SE" sz="2000" dirty="0"/>
              <a:t> 15-16</a:t>
            </a:r>
          </a:p>
        </p:txBody>
      </p:sp>
    </p:spTree>
    <p:extLst>
      <p:ext uri="{BB962C8B-B14F-4D97-AF65-F5344CB8AC3E}">
        <p14:creationId xmlns:p14="http://schemas.microsoft.com/office/powerpoint/2010/main" val="37048611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305F849-5D5D-16FC-FCBC-AD0D6D43C22C}"/>
              </a:ext>
            </a:extLst>
          </p:cNvPr>
          <p:cNvSpPr>
            <a:spLocks noGrp="1"/>
          </p:cNvSpPr>
          <p:nvPr>
            <p:ph type="title"/>
          </p:nvPr>
        </p:nvSpPr>
        <p:spPr/>
        <p:txBody>
          <a:bodyPr/>
          <a:lstStyle/>
          <a:p>
            <a:r>
              <a:rPr lang="sv-SE" dirty="0"/>
              <a:t>Renrum</a:t>
            </a:r>
          </a:p>
        </p:txBody>
      </p:sp>
      <p:sp>
        <p:nvSpPr>
          <p:cNvPr id="3" name="Platshållare för bildnummer 2">
            <a:extLst>
              <a:ext uri="{FF2B5EF4-FFF2-40B4-BE49-F238E27FC236}">
                <a16:creationId xmlns:a16="http://schemas.microsoft.com/office/drawing/2014/main" id="{43E0D2EB-D6B2-12CB-ACD7-1BC6A525E08A}"/>
              </a:ext>
            </a:extLst>
          </p:cNvPr>
          <p:cNvSpPr>
            <a:spLocks noGrp="1"/>
          </p:cNvSpPr>
          <p:nvPr>
            <p:ph type="sldNum" sz="quarter" idx="12"/>
          </p:nvPr>
        </p:nvSpPr>
        <p:spPr/>
        <p:txBody>
          <a:bodyPr/>
          <a:lstStyle/>
          <a:p>
            <a:pPr defTabSz="685800"/>
            <a:fld id="{5204B58B-0420-4827-A2A8-7A3D043AFDDE}" type="slidenum">
              <a:rPr lang="sv-SE">
                <a:solidFill>
                  <a:prstClr val="black"/>
                </a:solidFill>
                <a:latin typeface="Roboto"/>
              </a:rPr>
              <a:pPr defTabSz="685800"/>
              <a:t>20</a:t>
            </a:fld>
            <a:endParaRPr lang="sv-SE" dirty="0">
              <a:solidFill>
                <a:prstClr val="black"/>
              </a:solidFill>
              <a:latin typeface="Roboto"/>
            </a:endParaRPr>
          </a:p>
        </p:txBody>
      </p:sp>
      <p:sp>
        <p:nvSpPr>
          <p:cNvPr id="4" name="Platshållare för innehåll 3">
            <a:extLst>
              <a:ext uri="{FF2B5EF4-FFF2-40B4-BE49-F238E27FC236}">
                <a16:creationId xmlns:a16="http://schemas.microsoft.com/office/drawing/2014/main" id="{7E8275F8-70CF-0635-87B1-8FEF251413F3}"/>
              </a:ext>
            </a:extLst>
          </p:cNvPr>
          <p:cNvSpPr>
            <a:spLocks noGrp="1"/>
          </p:cNvSpPr>
          <p:nvPr>
            <p:ph sz="quarter" idx="13"/>
          </p:nvPr>
        </p:nvSpPr>
        <p:spPr/>
        <p:txBody>
          <a:bodyPr/>
          <a:lstStyle/>
          <a:p>
            <a:r>
              <a:rPr lang="en-US" sz="1500" dirty="0"/>
              <a:t>Cleanrooms and associated controlled environments - Part 5: Operations (ISO 14644-5:2004)</a:t>
            </a:r>
          </a:p>
          <a:p>
            <a:r>
              <a:rPr lang="sv-SE" sz="1800" dirty="0" err="1">
                <a:latin typeface="Aptos" panose="020B0004020202020204" pitchFamily="34" charset="0"/>
                <a:ea typeface="Times New Roman" panose="02020603050405020304" pitchFamily="18" charset="0"/>
                <a:cs typeface="Aptos" panose="020B0004020202020204" pitchFamily="34" charset="0"/>
              </a:rPr>
              <a:t>Cleanrooms</a:t>
            </a:r>
            <a:r>
              <a:rPr lang="sv-SE" sz="1800" dirty="0">
                <a:latin typeface="Aptos" panose="020B0004020202020204" pitchFamily="34" charset="0"/>
                <a:ea typeface="Times New Roman" panose="02020603050405020304" pitchFamily="18" charset="0"/>
                <a:cs typeface="Aptos" panose="020B0004020202020204" pitchFamily="34" charset="0"/>
              </a:rPr>
              <a:t> and </a:t>
            </a:r>
            <a:r>
              <a:rPr lang="sv-SE" sz="1800" dirty="0" err="1">
                <a:latin typeface="Aptos" panose="020B0004020202020204" pitchFamily="34" charset="0"/>
                <a:ea typeface="Times New Roman" panose="02020603050405020304" pitchFamily="18" charset="0"/>
                <a:cs typeface="Aptos" panose="020B0004020202020204" pitchFamily="34" charset="0"/>
              </a:rPr>
              <a:t>associated</a:t>
            </a:r>
            <a:r>
              <a:rPr lang="sv-SE" sz="1800" dirty="0">
                <a:latin typeface="Aptos" panose="020B0004020202020204" pitchFamily="34" charset="0"/>
                <a:ea typeface="Times New Roman" panose="02020603050405020304" pitchFamily="18" charset="0"/>
                <a:cs typeface="Aptos" panose="020B0004020202020204" pitchFamily="34" charset="0"/>
              </a:rPr>
              <a:t> </a:t>
            </a:r>
            <a:r>
              <a:rPr lang="sv-SE" sz="1800" dirty="0" err="1">
                <a:latin typeface="Aptos" panose="020B0004020202020204" pitchFamily="34" charset="0"/>
                <a:ea typeface="Times New Roman" panose="02020603050405020304" pitchFamily="18" charset="0"/>
                <a:cs typeface="Aptos" panose="020B0004020202020204" pitchFamily="34" charset="0"/>
              </a:rPr>
              <a:t>controlled</a:t>
            </a:r>
            <a:r>
              <a:rPr lang="sv-SE" sz="1800" dirty="0">
                <a:latin typeface="Aptos" panose="020B0004020202020204" pitchFamily="34" charset="0"/>
                <a:ea typeface="Times New Roman" panose="02020603050405020304" pitchFamily="18" charset="0"/>
                <a:cs typeface="Aptos" panose="020B0004020202020204" pitchFamily="34" charset="0"/>
              </a:rPr>
              <a:t> </a:t>
            </a:r>
            <a:r>
              <a:rPr lang="sv-SE" sz="1800" dirty="0" err="1">
                <a:latin typeface="Aptos" panose="020B0004020202020204" pitchFamily="34" charset="0"/>
                <a:ea typeface="Times New Roman" panose="02020603050405020304" pitchFamily="18" charset="0"/>
                <a:cs typeface="Aptos" panose="020B0004020202020204" pitchFamily="34" charset="0"/>
              </a:rPr>
              <a:t>environments</a:t>
            </a:r>
            <a:r>
              <a:rPr lang="sv-SE" sz="1800" dirty="0">
                <a:latin typeface="Aptos" panose="020B0004020202020204" pitchFamily="34" charset="0"/>
                <a:ea typeface="Times New Roman" panose="02020603050405020304" pitchFamily="18" charset="0"/>
                <a:cs typeface="Aptos" panose="020B0004020202020204" pitchFamily="34" charset="0"/>
              </a:rPr>
              <a:t> - Part 4: Design, </a:t>
            </a:r>
            <a:r>
              <a:rPr lang="sv-SE" sz="1800" dirty="0" err="1">
                <a:latin typeface="Aptos" panose="020B0004020202020204" pitchFamily="34" charset="0"/>
                <a:ea typeface="Times New Roman" panose="02020603050405020304" pitchFamily="18" charset="0"/>
                <a:cs typeface="Aptos" panose="020B0004020202020204" pitchFamily="34" charset="0"/>
              </a:rPr>
              <a:t>construction</a:t>
            </a:r>
            <a:r>
              <a:rPr lang="sv-SE" sz="1800" dirty="0">
                <a:latin typeface="Aptos" panose="020B0004020202020204" pitchFamily="34" charset="0"/>
                <a:ea typeface="Times New Roman" panose="02020603050405020304" pitchFamily="18" charset="0"/>
                <a:cs typeface="Aptos" panose="020B0004020202020204" pitchFamily="34" charset="0"/>
              </a:rPr>
              <a:t> and start-</a:t>
            </a:r>
            <a:r>
              <a:rPr lang="sv-SE" sz="1800" dirty="0" err="1">
                <a:latin typeface="Aptos" panose="020B0004020202020204" pitchFamily="34" charset="0"/>
                <a:ea typeface="Times New Roman" panose="02020603050405020304" pitchFamily="18" charset="0"/>
                <a:cs typeface="Aptos" panose="020B0004020202020204" pitchFamily="34" charset="0"/>
              </a:rPr>
              <a:t>up</a:t>
            </a:r>
            <a:r>
              <a:rPr lang="sv-SE" sz="1800" dirty="0">
                <a:latin typeface="Aptos" panose="020B0004020202020204" pitchFamily="34" charset="0"/>
                <a:ea typeface="Times New Roman" panose="02020603050405020304" pitchFamily="18" charset="0"/>
                <a:cs typeface="Aptos" panose="020B0004020202020204" pitchFamily="34" charset="0"/>
              </a:rPr>
              <a:t> (ISO 14644-4:2022)</a:t>
            </a:r>
            <a:endParaRPr lang="sv-SE" sz="1800" dirty="0">
              <a:latin typeface="Aptos" panose="020B0004020202020204" pitchFamily="34" charset="0"/>
              <a:ea typeface="Aptos" panose="020B0004020202020204" pitchFamily="34" charset="0"/>
              <a:cs typeface="Aptos" panose="020B0004020202020204" pitchFamily="34" charset="0"/>
            </a:endParaRPr>
          </a:p>
          <a:p>
            <a:r>
              <a:rPr lang="sv-SE" sz="1800" dirty="0" err="1">
                <a:latin typeface="Aptos" panose="020B0004020202020204" pitchFamily="34" charset="0"/>
                <a:ea typeface="Times New Roman" panose="02020603050405020304" pitchFamily="18" charset="0"/>
                <a:cs typeface="Aptos" panose="020B0004020202020204" pitchFamily="34" charset="0"/>
              </a:rPr>
              <a:t>Cleanrooms</a:t>
            </a:r>
            <a:r>
              <a:rPr lang="sv-SE" sz="1800" dirty="0">
                <a:latin typeface="Aptos" panose="020B0004020202020204" pitchFamily="34" charset="0"/>
                <a:ea typeface="Times New Roman" panose="02020603050405020304" pitchFamily="18" charset="0"/>
                <a:cs typeface="Aptos" panose="020B0004020202020204" pitchFamily="34" charset="0"/>
              </a:rPr>
              <a:t> and </a:t>
            </a:r>
            <a:r>
              <a:rPr lang="sv-SE" sz="1800" dirty="0" err="1">
                <a:latin typeface="Aptos" panose="020B0004020202020204" pitchFamily="34" charset="0"/>
                <a:ea typeface="Times New Roman" panose="02020603050405020304" pitchFamily="18" charset="0"/>
                <a:cs typeface="Aptos" panose="020B0004020202020204" pitchFamily="34" charset="0"/>
              </a:rPr>
              <a:t>associated</a:t>
            </a:r>
            <a:r>
              <a:rPr lang="sv-SE" sz="1800" dirty="0">
                <a:latin typeface="Aptos" panose="020B0004020202020204" pitchFamily="34" charset="0"/>
                <a:ea typeface="Times New Roman" panose="02020603050405020304" pitchFamily="18" charset="0"/>
                <a:cs typeface="Aptos" panose="020B0004020202020204" pitchFamily="34" charset="0"/>
              </a:rPr>
              <a:t> </a:t>
            </a:r>
            <a:r>
              <a:rPr lang="sv-SE" sz="1800" dirty="0" err="1">
                <a:latin typeface="Aptos" panose="020B0004020202020204" pitchFamily="34" charset="0"/>
                <a:ea typeface="Times New Roman" panose="02020603050405020304" pitchFamily="18" charset="0"/>
                <a:cs typeface="Aptos" panose="020B0004020202020204" pitchFamily="34" charset="0"/>
              </a:rPr>
              <a:t>controlled</a:t>
            </a:r>
            <a:r>
              <a:rPr lang="sv-SE" sz="1800" dirty="0">
                <a:latin typeface="Aptos" panose="020B0004020202020204" pitchFamily="34" charset="0"/>
                <a:ea typeface="Times New Roman" panose="02020603050405020304" pitchFamily="18" charset="0"/>
                <a:cs typeface="Aptos" panose="020B0004020202020204" pitchFamily="34" charset="0"/>
              </a:rPr>
              <a:t> </a:t>
            </a:r>
            <a:r>
              <a:rPr lang="sv-SE" sz="1800" dirty="0" err="1">
                <a:latin typeface="Aptos" panose="020B0004020202020204" pitchFamily="34" charset="0"/>
                <a:ea typeface="Times New Roman" panose="02020603050405020304" pitchFamily="18" charset="0"/>
                <a:cs typeface="Aptos" panose="020B0004020202020204" pitchFamily="34" charset="0"/>
              </a:rPr>
              <a:t>environments</a:t>
            </a:r>
            <a:r>
              <a:rPr lang="sv-SE" sz="1800" dirty="0">
                <a:latin typeface="Aptos" panose="020B0004020202020204" pitchFamily="34" charset="0"/>
                <a:ea typeface="Times New Roman" panose="02020603050405020304" pitchFamily="18" charset="0"/>
                <a:cs typeface="Aptos" panose="020B0004020202020204" pitchFamily="34" charset="0"/>
              </a:rPr>
              <a:t> - Part 8: </a:t>
            </a:r>
            <a:r>
              <a:rPr lang="sv-SE" sz="1800" dirty="0" err="1">
                <a:latin typeface="Aptos" panose="020B0004020202020204" pitchFamily="34" charset="0"/>
                <a:ea typeface="Times New Roman" panose="02020603050405020304" pitchFamily="18" charset="0"/>
                <a:cs typeface="Aptos" panose="020B0004020202020204" pitchFamily="34" charset="0"/>
              </a:rPr>
              <a:t>Assessment</a:t>
            </a:r>
            <a:r>
              <a:rPr lang="sv-SE" sz="1800" dirty="0">
                <a:latin typeface="Aptos" panose="020B0004020202020204" pitchFamily="34" charset="0"/>
                <a:ea typeface="Times New Roman" panose="02020603050405020304" pitchFamily="18" charset="0"/>
                <a:cs typeface="Aptos" panose="020B0004020202020204" pitchFamily="34" charset="0"/>
              </a:rPr>
              <a:t> </a:t>
            </a:r>
            <a:r>
              <a:rPr lang="sv-SE" sz="1800" dirty="0" err="1">
                <a:latin typeface="Aptos" panose="020B0004020202020204" pitchFamily="34" charset="0"/>
                <a:ea typeface="Times New Roman" panose="02020603050405020304" pitchFamily="18" charset="0"/>
                <a:cs typeface="Aptos" panose="020B0004020202020204" pitchFamily="34" charset="0"/>
              </a:rPr>
              <a:t>of</a:t>
            </a:r>
            <a:r>
              <a:rPr lang="sv-SE" sz="1800" dirty="0">
                <a:latin typeface="Aptos" panose="020B0004020202020204" pitchFamily="34" charset="0"/>
                <a:ea typeface="Times New Roman" panose="02020603050405020304" pitchFamily="18" charset="0"/>
                <a:cs typeface="Aptos" panose="020B0004020202020204" pitchFamily="34" charset="0"/>
              </a:rPr>
              <a:t> air </a:t>
            </a:r>
            <a:r>
              <a:rPr lang="sv-SE" sz="1800" dirty="0" err="1">
                <a:latin typeface="Aptos" panose="020B0004020202020204" pitchFamily="34" charset="0"/>
                <a:ea typeface="Times New Roman" panose="02020603050405020304" pitchFamily="18" charset="0"/>
                <a:cs typeface="Aptos" panose="020B0004020202020204" pitchFamily="34" charset="0"/>
              </a:rPr>
              <a:t>cleanliness</a:t>
            </a:r>
            <a:r>
              <a:rPr lang="sv-SE" sz="1800" dirty="0">
                <a:latin typeface="Aptos" panose="020B0004020202020204" pitchFamily="34" charset="0"/>
                <a:ea typeface="Times New Roman" panose="02020603050405020304" pitchFamily="18" charset="0"/>
                <a:cs typeface="Aptos" panose="020B0004020202020204" pitchFamily="34" charset="0"/>
              </a:rPr>
              <a:t> by </a:t>
            </a:r>
            <a:r>
              <a:rPr lang="sv-SE" sz="1800" dirty="0" err="1">
                <a:latin typeface="Aptos" panose="020B0004020202020204" pitchFamily="34" charset="0"/>
                <a:ea typeface="Times New Roman" panose="02020603050405020304" pitchFamily="18" charset="0"/>
                <a:cs typeface="Aptos" panose="020B0004020202020204" pitchFamily="34" charset="0"/>
              </a:rPr>
              <a:t>chemical</a:t>
            </a:r>
            <a:r>
              <a:rPr lang="sv-SE" sz="1800" dirty="0">
                <a:latin typeface="Aptos" panose="020B0004020202020204" pitchFamily="34" charset="0"/>
                <a:ea typeface="Times New Roman" panose="02020603050405020304" pitchFamily="18" charset="0"/>
                <a:cs typeface="Aptos" panose="020B0004020202020204" pitchFamily="34" charset="0"/>
              </a:rPr>
              <a:t> </a:t>
            </a:r>
            <a:r>
              <a:rPr lang="sv-SE" sz="1800" dirty="0" err="1">
                <a:latin typeface="Aptos" panose="020B0004020202020204" pitchFamily="34" charset="0"/>
                <a:ea typeface="Times New Roman" panose="02020603050405020304" pitchFamily="18" charset="0"/>
                <a:cs typeface="Aptos" panose="020B0004020202020204" pitchFamily="34" charset="0"/>
              </a:rPr>
              <a:t>concentration</a:t>
            </a:r>
            <a:r>
              <a:rPr lang="sv-SE" sz="1800" dirty="0">
                <a:latin typeface="Aptos" panose="020B0004020202020204" pitchFamily="34" charset="0"/>
                <a:ea typeface="Times New Roman" panose="02020603050405020304" pitchFamily="18" charset="0"/>
                <a:cs typeface="Aptos" panose="020B0004020202020204" pitchFamily="34" charset="0"/>
              </a:rPr>
              <a:t> (ACC) </a:t>
            </a:r>
            <a:endParaRPr lang="sv-SE" sz="1500" dirty="0"/>
          </a:p>
        </p:txBody>
      </p:sp>
    </p:spTree>
    <p:extLst>
      <p:ext uri="{BB962C8B-B14F-4D97-AF65-F5344CB8AC3E}">
        <p14:creationId xmlns:p14="http://schemas.microsoft.com/office/powerpoint/2010/main" val="38743963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66918" y="408441"/>
            <a:ext cx="8229600" cy="857250"/>
          </a:xfrm>
        </p:spPr>
        <p:txBody>
          <a:bodyPr>
            <a:normAutofit fontScale="90000"/>
          </a:bodyPr>
          <a:lstStyle/>
          <a:p>
            <a:r>
              <a:rPr lang="nb-NO" sz="3600" dirty="0"/>
              <a:t>RSG upphandling    </a:t>
            </a:r>
            <a:r>
              <a:rPr lang="nb-NO" sz="2700" dirty="0"/>
              <a:t>Carina Mattsson Sandberg</a:t>
            </a:r>
            <a:br>
              <a:rPr lang="sv-SE" sz="3600" dirty="0"/>
            </a:br>
            <a:endParaRPr lang="sv-SE" sz="3600" dirty="0"/>
          </a:p>
        </p:txBody>
      </p:sp>
      <p:sp>
        <p:nvSpPr>
          <p:cNvPr id="3" name="Platshållare för innehåll 2"/>
          <p:cNvSpPr>
            <a:spLocks noGrp="1"/>
          </p:cNvSpPr>
          <p:nvPr>
            <p:ph sz="half" idx="1"/>
          </p:nvPr>
        </p:nvSpPr>
        <p:spPr>
          <a:xfrm>
            <a:off x="457200" y="1265691"/>
            <a:ext cx="7139136" cy="3163826"/>
          </a:xfrm>
        </p:spPr>
        <p:txBody>
          <a:bodyPr>
            <a:normAutofit/>
          </a:bodyPr>
          <a:lstStyle/>
          <a:p>
            <a:endParaRPr lang="nb-NO" sz="1800" dirty="0"/>
          </a:p>
          <a:p>
            <a:endParaRPr lang="nb-NO" sz="1800" dirty="0"/>
          </a:p>
          <a:p>
            <a:r>
              <a:rPr lang="nb-NO" sz="1800" dirty="0"/>
              <a:t>Se efterföljande fyra bilder</a:t>
            </a:r>
          </a:p>
        </p:txBody>
      </p:sp>
      <p:pic>
        <p:nvPicPr>
          <p:cNvPr id="5" name="Bildobjekt 4">
            <a:extLst>
              <a:ext uri="{FF2B5EF4-FFF2-40B4-BE49-F238E27FC236}">
                <a16:creationId xmlns:a16="http://schemas.microsoft.com/office/drawing/2014/main" id="{FC5F3589-2EDC-1597-AF4D-6CEAD9EA75C2}"/>
              </a:ext>
            </a:extLst>
          </p:cNvPr>
          <p:cNvPicPr>
            <a:picLocks noChangeAspect="1"/>
          </p:cNvPicPr>
          <p:nvPr/>
        </p:nvPicPr>
        <p:blipFill>
          <a:blip r:embed="rId3"/>
          <a:stretch>
            <a:fillRect/>
          </a:stretch>
        </p:blipFill>
        <p:spPr>
          <a:xfrm>
            <a:off x="457200" y="2663989"/>
            <a:ext cx="2144323" cy="1479057"/>
          </a:xfrm>
          <a:prstGeom prst="rect">
            <a:avLst/>
          </a:prstGeom>
        </p:spPr>
      </p:pic>
      <p:pic>
        <p:nvPicPr>
          <p:cNvPr id="7" name="Bildobjekt 6">
            <a:extLst>
              <a:ext uri="{FF2B5EF4-FFF2-40B4-BE49-F238E27FC236}">
                <a16:creationId xmlns:a16="http://schemas.microsoft.com/office/drawing/2014/main" id="{11179760-B845-0DC4-A5EF-8E4571652527}"/>
              </a:ext>
            </a:extLst>
          </p:cNvPr>
          <p:cNvPicPr>
            <a:picLocks noChangeAspect="1"/>
          </p:cNvPicPr>
          <p:nvPr/>
        </p:nvPicPr>
        <p:blipFill>
          <a:blip r:embed="rId4"/>
          <a:stretch>
            <a:fillRect/>
          </a:stretch>
        </p:blipFill>
        <p:spPr>
          <a:xfrm>
            <a:off x="2915816" y="3449183"/>
            <a:ext cx="2031157" cy="857251"/>
          </a:xfrm>
          <a:prstGeom prst="rect">
            <a:avLst/>
          </a:prstGeom>
        </p:spPr>
      </p:pic>
      <p:pic>
        <p:nvPicPr>
          <p:cNvPr id="13" name="Bildobjekt 12">
            <a:extLst>
              <a:ext uri="{FF2B5EF4-FFF2-40B4-BE49-F238E27FC236}">
                <a16:creationId xmlns:a16="http://schemas.microsoft.com/office/drawing/2014/main" id="{9B3DF7AC-29AD-3DA2-913F-3C1250282951}"/>
              </a:ext>
            </a:extLst>
          </p:cNvPr>
          <p:cNvPicPr>
            <a:picLocks noChangeAspect="1"/>
          </p:cNvPicPr>
          <p:nvPr/>
        </p:nvPicPr>
        <p:blipFill>
          <a:blip r:embed="rId5"/>
          <a:stretch>
            <a:fillRect/>
          </a:stretch>
        </p:blipFill>
        <p:spPr>
          <a:xfrm>
            <a:off x="4644008" y="2122941"/>
            <a:ext cx="2226675" cy="990782"/>
          </a:xfrm>
          <a:prstGeom prst="rect">
            <a:avLst/>
          </a:prstGeom>
        </p:spPr>
      </p:pic>
      <p:pic>
        <p:nvPicPr>
          <p:cNvPr id="15" name="Bildobjekt 14">
            <a:extLst>
              <a:ext uri="{FF2B5EF4-FFF2-40B4-BE49-F238E27FC236}">
                <a16:creationId xmlns:a16="http://schemas.microsoft.com/office/drawing/2014/main" id="{6755EA1D-CD5F-3F5F-D1C9-DC22187CB77C}"/>
              </a:ext>
            </a:extLst>
          </p:cNvPr>
          <p:cNvPicPr>
            <a:picLocks noChangeAspect="1"/>
          </p:cNvPicPr>
          <p:nvPr/>
        </p:nvPicPr>
        <p:blipFill>
          <a:blip r:embed="rId6"/>
          <a:stretch>
            <a:fillRect/>
          </a:stretch>
        </p:blipFill>
        <p:spPr>
          <a:xfrm>
            <a:off x="6660125" y="3003798"/>
            <a:ext cx="2236393" cy="1265691"/>
          </a:xfrm>
          <a:prstGeom prst="rect">
            <a:avLst/>
          </a:prstGeom>
        </p:spPr>
      </p:pic>
    </p:spTree>
    <p:extLst>
      <p:ext uri="{BB962C8B-B14F-4D97-AF65-F5344CB8AC3E}">
        <p14:creationId xmlns:p14="http://schemas.microsoft.com/office/powerpoint/2010/main" val="15621330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611560" y="1491630"/>
            <a:ext cx="7772400" cy="1102519"/>
          </a:xfrm>
        </p:spPr>
        <p:txBody>
          <a:bodyPr>
            <a:normAutofit fontScale="90000"/>
          </a:bodyPr>
          <a:lstStyle/>
          <a:p>
            <a:pPr algn="ctr"/>
            <a:br>
              <a:rPr lang="sv-SE" dirty="0"/>
            </a:br>
            <a:r>
              <a:rPr lang="sv-SE" dirty="0"/>
              <a:t>Regionsjukvårdsledningen </a:t>
            </a:r>
            <a:br>
              <a:rPr lang="sv-SE" dirty="0"/>
            </a:br>
            <a:r>
              <a:rPr lang="sv-SE" dirty="0"/>
              <a:t>10 april 2025 </a:t>
            </a:r>
            <a:br>
              <a:rPr lang="sv-SE" dirty="0"/>
            </a:br>
            <a:br>
              <a:rPr lang="sv-SE" dirty="0"/>
            </a:br>
            <a:r>
              <a:rPr lang="sv-SE" sz="2700" dirty="0"/>
              <a:t>Sammanfattande information</a:t>
            </a:r>
          </a:p>
        </p:txBody>
      </p:sp>
    </p:spTree>
    <p:extLst>
      <p:ext uri="{BB962C8B-B14F-4D97-AF65-F5344CB8AC3E}">
        <p14:creationId xmlns:p14="http://schemas.microsoft.com/office/powerpoint/2010/main" val="5120711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274340"/>
            <a:ext cx="8229600" cy="857250"/>
          </a:xfrm>
        </p:spPr>
        <p:txBody>
          <a:bodyPr>
            <a:normAutofit/>
          </a:bodyPr>
          <a:lstStyle/>
          <a:p>
            <a:r>
              <a:rPr lang="sv-SE" sz="3200" dirty="0"/>
              <a:t>Aktuellt från RSL au</a:t>
            </a:r>
          </a:p>
        </p:txBody>
      </p:sp>
      <p:sp>
        <p:nvSpPr>
          <p:cNvPr id="3" name="Platshållare för innehåll 2"/>
          <p:cNvSpPr>
            <a:spLocks noGrp="1"/>
          </p:cNvSpPr>
          <p:nvPr>
            <p:ph idx="1"/>
          </p:nvPr>
        </p:nvSpPr>
        <p:spPr>
          <a:xfrm>
            <a:off x="457200" y="1167594"/>
            <a:ext cx="8363272" cy="2808311"/>
          </a:xfrm>
        </p:spPr>
        <p:txBody>
          <a:bodyPr>
            <a:noAutofit/>
          </a:bodyPr>
          <a:lstStyle/>
          <a:p>
            <a:pPr>
              <a:spcAft>
                <a:spcPts val="600"/>
              </a:spcAft>
            </a:pPr>
            <a:r>
              <a:rPr lang="sv-SE" sz="1800" dirty="0">
                <a:effectLst/>
                <a:latin typeface="+mj-lt"/>
                <a:ea typeface="Times New Roman" panose="02020603050405020304" pitchFamily="18" charset="0"/>
              </a:rPr>
              <a:t>RSL au bevakar att beslutad fördelningsnyckel inom sydöstra efterföljs och där en nulägesbild redovisades. </a:t>
            </a:r>
          </a:p>
          <a:p>
            <a:pPr>
              <a:spcAft>
                <a:spcPts val="600"/>
              </a:spcAft>
            </a:pPr>
            <a:r>
              <a:rPr lang="sv-SE" sz="1800" dirty="0">
                <a:effectLst/>
                <a:latin typeface="+mj-lt"/>
                <a:ea typeface="Times New Roman" panose="02020603050405020304" pitchFamily="18" charset="0"/>
              </a:rPr>
              <a:t>RSL au informerade från dialoger med de regionala samverkansgrupperna RSG och där följande var i behov av ett förtydligat och reviderat uppdrag / hemsida. </a:t>
            </a:r>
          </a:p>
          <a:p>
            <a:pPr marL="342900" lvl="0" indent="-342900">
              <a:spcAft>
                <a:spcPts val="600"/>
              </a:spcAft>
              <a:buFont typeface="Symbol" panose="05050102010706020507" pitchFamily="18" charset="2"/>
              <a:buChar char=""/>
            </a:pPr>
            <a:r>
              <a:rPr lang="sv-SE" sz="1800" dirty="0">
                <a:effectLst/>
                <a:latin typeface="+mj-lt"/>
                <a:ea typeface="Times New Roman" panose="02020603050405020304" pitchFamily="18" charset="0"/>
              </a:rPr>
              <a:t>RSG Metoder och kunskapsstöd</a:t>
            </a:r>
          </a:p>
          <a:p>
            <a:pPr marL="342900" lvl="0" indent="-342900">
              <a:spcAft>
                <a:spcPts val="600"/>
              </a:spcAft>
              <a:buFont typeface="Symbol" panose="05050102010706020507" pitchFamily="18" charset="2"/>
              <a:buChar char=""/>
            </a:pPr>
            <a:r>
              <a:rPr lang="sv-SE" sz="1800" dirty="0">
                <a:effectLst/>
                <a:latin typeface="+mj-lt"/>
                <a:ea typeface="Times New Roman" panose="02020603050405020304" pitchFamily="18" charset="0"/>
              </a:rPr>
              <a:t>RSG Medicinsk teknisk</a:t>
            </a:r>
          </a:p>
          <a:p>
            <a:pPr marL="342900" lvl="0" indent="-342900">
              <a:spcAft>
                <a:spcPts val="600"/>
              </a:spcAft>
              <a:buFont typeface="Symbol" panose="05050102010706020507" pitchFamily="18" charset="2"/>
              <a:buChar char=""/>
            </a:pPr>
            <a:r>
              <a:rPr lang="sv-SE" sz="1800" dirty="0">
                <a:effectLst/>
                <a:latin typeface="+mj-lt"/>
                <a:ea typeface="Times New Roman" panose="02020603050405020304" pitchFamily="18" charset="0"/>
              </a:rPr>
              <a:t>RSG Standardisering</a:t>
            </a:r>
          </a:p>
          <a:p>
            <a:endParaRPr lang="sv-SE" sz="2000" dirty="0"/>
          </a:p>
        </p:txBody>
      </p:sp>
    </p:spTree>
    <p:extLst>
      <p:ext uri="{BB962C8B-B14F-4D97-AF65-F5344CB8AC3E}">
        <p14:creationId xmlns:p14="http://schemas.microsoft.com/office/powerpoint/2010/main" val="17289509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A89953C-BE6E-4F5B-B9D1-CCE2AA4C2DCF}"/>
              </a:ext>
            </a:extLst>
          </p:cNvPr>
          <p:cNvSpPr>
            <a:spLocks noGrp="1"/>
          </p:cNvSpPr>
          <p:nvPr>
            <p:ph type="title"/>
          </p:nvPr>
        </p:nvSpPr>
        <p:spPr>
          <a:xfrm>
            <a:off x="428170" y="364210"/>
            <a:ext cx="8536317" cy="576064"/>
          </a:xfrm>
        </p:spPr>
        <p:txBody>
          <a:bodyPr>
            <a:noAutofit/>
          </a:bodyPr>
          <a:lstStyle/>
          <a:p>
            <a:r>
              <a:rPr lang="sv-SE" sz="2800" b="0" dirty="0">
                <a:latin typeface="+mj-lt"/>
                <a:cs typeface="Calibri"/>
              </a:rPr>
              <a:t>NAG kvalitetsregi</a:t>
            </a:r>
            <a:r>
              <a:rPr lang="sv-SE" sz="2800" dirty="0">
                <a:latin typeface="+mj-lt"/>
                <a:cs typeface="Calibri"/>
              </a:rPr>
              <a:t>st</a:t>
            </a:r>
            <a:r>
              <a:rPr lang="sv-SE" sz="2800" b="0" dirty="0">
                <a:latin typeface="+mj-lt"/>
                <a:cs typeface="Calibri"/>
              </a:rPr>
              <a:t>er/konsolidering CPUA</a:t>
            </a:r>
          </a:p>
        </p:txBody>
      </p:sp>
      <p:sp>
        <p:nvSpPr>
          <p:cNvPr id="4" name="Platshållare för text 2">
            <a:extLst>
              <a:ext uri="{FF2B5EF4-FFF2-40B4-BE49-F238E27FC236}">
                <a16:creationId xmlns:a16="http://schemas.microsoft.com/office/drawing/2014/main" id="{53D48CA4-1441-C1FF-5DBA-07F7659B2741}"/>
              </a:ext>
            </a:extLst>
          </p:cNvPr>
          <p:cNvSpPr txBox="1">
            <a:spLocks/>
          </p:cNvSpPr>
          <p:nvPr/>
        </p:nvSpPr>
        <p:spPr>
          <a:xfrm>
            <a:off x="7308304" y="474370"/>
            <a:ext cx="4232970" cy="4304969"/>
          </a:xfrm>
          <a:prstGeom prst="rect">
            <a:avLst/>
          </a:prstGeom>
        </p:spPr>
        <p:txBody>
          <a:bodyPr vert="horz" lIns="68580" tIns="34290" rIns="68580" bIns="34290" rtlCol="0" anchor="t">
            <a:norm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0000"/>
              </a:lnSpc>
              <a:spcBef>
                <a:spcPts val="750"/>
              </a:spcBef>
              <a:defRPr/>
            </a:pPr>
            <a:endParaRPr lang="sv-SE" sz="3000" dirty="0">
              <a:solidFill>
                <a:srgbClr val="000000"/>
              </a:solidFill>
              <a:latin typeface="Calibri"/>
            </a:endParaRPr>
          </a:p>
        </p:txBody>
      </p:sp>
      <p:sp>
        <p:nvSpPr>
          <p:cNvPr id="8" name="textruta 7">
            <a:extLst>
              <a:ext uri="{FF2B5EF4-FFF2-40B4-BE49-F238E27FC236}">
                <a16:creationId xmlns:a16="http://schemas.microsoft.com/office/drawing/2014/main" id="{B7AEC8BF-94FE-03CA-5D01-C1993DC51287}"/>
              </a:ext>
            </a:extLst>
          </p:cNvPr>
          <p:cNvSpPr txBox="1"/>
          <p:nvPr/>
        </p:nvSpPr>
        <p:spPr>
          <a:xfrm>
            <a:off x="430225" y="1451728"/>
            <a:ext cx="8534471" cy="2816156"/>
          </a:xfrm>
          <a:prstGeom prst="rect">
            <a:avLst/>
          </a:prstGeom>
          <a:noFill/>
        </p:spPr>
        <p:txBody>
          <a:bodyPr wrap="square" rtlCol="0">
            <a:spAutoFit/>
          </a:bodyPr>
          <a:lstStyle/>
          <a:p>
            <a:pPr>
              <a:spcAft>
                <a:spcPts val="600"/>
              </a:spcAft>
            </a:pPr>
            <a:r>
              <a:rPr lang="sv-SE" sz="1800" dirty="0">
                <a:effectLst/>
                <a:latin typeface="+mj-lt"/>
                <a:ea typeface="Times New Roman" panose="02020603050405020304" pitchFamily="18" charset="0"/>
              </a:rPr>
              <a:t>Ansvar för CPUA inom Sydöstra sjukvårdsregionen bär Region Jönköpings län. Det innebär att Region Östergötland kommer lämna ifrån sig register till Region Skåne, Region Uppsala och Region Jönköpings län.</a:t>
            </a:r>
          </a:p>
          <a:p>
            <a:pPr>
              <a:spcAft>
                <a:spcPts val="600"/>
              </a:spcAft>
            </a:pPr>
            <a:endParaRPr lang="sv-SE" sz="1800" dirty="0">
              <a:effectLst/>
              <a:latin typeface="+mj-lt"/>
              <a:ea typeface="Times New Roman" panose="02020603050405020304" pitchFamily="18" charset="0"/>
            </a:endParaRPr>
          </a:p>
          <a:p>
            <a:pPr>
              <a:spcAft>
                <a:spcPts val="600"/>
              </a:spcAft>
            </a:pPr>
            <a:r>
              <a:rPr lang="sv-SE" sz="1800" dirty="0">
                <a:effectLst/>
                <a:latin typeface="+mj-lt"/>
                <a:ea typeface="Times New Roman" panose="02020603050405020304" pitchFamily="18" charset="0"/>
              </a:rPr>
              <a:t>I samband med uppstart tilldelas statliga medel till respektive CPUA, som ska användas till IT, juridik, tillgängliggörande och statistik. Region Jönköping arbetar med att utveckla en tydlig och hållbar organisation för uppdraget. </a:t>
            </a:r>
          </a:p>
          <a:p>
            <a:endParaRPr lang="sv-SE" sz="1800" dirty="0">
              <a:effectLst/>
              <a:latin typeface="+mj-lt"/>
              <a:ea typeface="Times New Roman" panose="02020603050405020304" pitchFamily="18" charset="0"/>
            </a:endParaRPr>
          </a:p>
          <a:p>
            <a:endParaRPr lang="sv-SE" dirty="0"/>
          </a:p>
        </p:txBody>
      </p:sp>
    </p:spTree>
    <p:extLst>
      <p:ext uri="{BB962C8B-B14F-4D97-AF65-F5344CB8AC3E}">
        <p14:creationId xmlns:p14="http://schemas.microsoft.com/office/powerpoint/2010/main" val="7007979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A89953C-BE6E-4F5B-B9D1-CCE2AA4C2DCF}"/>
              </a:ext>
            </a:extLst>
          </p:cNvPr>
          <p:cNvSpPr>
            <a:spLocks noGrp="1"/>
          </p:cNvSpPr>
          <p:nvPr>
            <p:ph type="title"/>
          </p:nvPr>
        </p:nvSpPr>
        <p:spPr>
          <a:xfrm>
            <a:off x="428170" y="555526"/>
            <a:ext cx="8536317" cy="576064"/>
          </a:xfrm>
        </p:spPr>
        <p:txBody>
          <a:bodyPr>
            <a:noAutofit/>
          </a:bodyPr>
          <a:lstStyle/>
          <a:p>
            <a:r>
              <a:rPr lang="sv-SE" sz="2400" dirty="0">
                <a:latin typeface="+mj-lt"/>
                <a:ea typeface="Times New Roman" panose="02020603050405020304" pitchFamily="18" charset="0"/>
              </a:rPr>
              <a:t>Nationell färdplan för precisionsmedicin</a:t>
            </a:r>
            <a:endParaRPr lang="sv-SE" sz="2400" b="0" dirty="0">
              <a:latin typeface="+mj-lt"/>
              <a:cs typeface="Calibri"/>
            </a:endParaRPr>
          </a:p>
        </p:txBody>
      </p:sp>
      <p:sp>
        <p:nvSpPr>
          <p:cNvPr id="4" name="Platshållare för text 2">
            <a:extLst>
              <a:ext uri="{FF2B5EF4-FFF2-40B4-BE49-F238E27FC236}">
                <a16:creationId xmlns:a16="http://schemas.microsoft.com/office/drawing/2014/main" id="{53D48CA4-1441-C1FF-5DBA-07F7659B2741}"/>
              </a:ext>
            </a:extLst>
          </p:cNvPr>
          <p:cNvSpPr txBox="1">
            <a:spLocks/>
          </p:cNvSpPr>
          <p:nvPr/>
        </p:nvSpPr>
        <p:spPr>
          <a:xfrm>
            <a:off x="7308304" y="474370"/>
            <a:ext cx="4232970" cy="4304969"/>
          </a:xfrm>
          <a:prstGeom prst="rect">
            <a:avLst/>
          </a:prstGeom>
        </p:spPr>
        <p:txBody>
          <a:bodyPr vert="horz" lIns="68580" tIns="34290" rIns="68580" bIns="34290" rtlCol="0" anchor="t">
            <a:norm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0000"/>
              </a:lnSpc>
              <a:spcBef>
                <a:spcPts val="750"/>
              </a:spcBef>
              <a:defRPr/>
            </a:pPr>
            <a:endParaRPr lang="sv-SE" sz="3000" dirty="0">
              <a:solidFill>
                <a:srgbClr val="000000"/>
              </a:solidFill>
              <a:latin typeface="Calibri"/>
            </a:endParaRPr>
          </a:p>
        </p:txBody>
      </p:sp>
      <p:sp>
        <p:nvSpPr>
          <p:cNvPr id="8" name="textruta 7">
            <a:extLst>
              <a:ext uri="{FF2B5EF4-FFF2-40B4-BE49-F238E27FC236}">
                <a16:creationId xmlns:a16="http://schemas.microsoft.com/office/drawing/2014/main" id="{B7AEC8BF-94FE-03CA-5D01-C1993DC51287}"/>
              </a:ext>
            </a:extLst>
          </p:cNvPr>
          <p:cNvSpPr txBox="1"/>
          <p:nvPr/>
        </p:nvSpPr>
        <p:spPr>
          <a:xfrm>
            <a:off x="428170" y="1213343"/>
            <a:ext cx="8536316" cy="3170099"/>
          </a:xfrm>
          <a:prstGeom prst="rect">
            <a:avLst/>
          </a:prstGeom>
          <a:noFill/>
        </p:spPr>
        <p:txBody>
          <a:bodyPr wrap="square" rtlCol="0">
            <a:spAutoFit/>
          </a:bodyPr>
          <a:lstStyle/>
          <a:p>
            <a:pPr>
              <a:spcAft>
                <a:spcPts val="600"/>
              </a:spcAft>
            </a:pPr>
            <a:r>
              <a:rPr lang="sv-SE" sz="1800" dirty="0">
                <a:effectLst/>
                <a:latin typeface="+mj-lt"/>
                <a:ea typeface="Times New Roman" panose="02020603050405020304" pitchFamily="18" charset="0"/>
              </a:rPr>
              <a:t>RSL fick information om Universitetssjukhusregionernas gemensamma utvecklingsinitiativ för samordning inom precisionsmedicin. </a:t>
            </a:r>
          </a:p>
          <a:p>
            <a:pPr>
              <a:spcAft>
                <a:spcPts val="600"/>
              </a:spcAft>
            </a:pPr>
            <a:r>
              <a:rPr lang="sv-SE" sz="1800" dirty="0">
                <a:effectLst/>
                <a:latin typeface="+mj-lt"/>
                <a:ea typeface="Times New Roman" panose="02020603050405020304" pitchFamily="18" charset="0"/>
              </a:rPr>
              <a:t>I december 2025 ska en konkret och förankrad handlingsplan som identifierar prioriterade åtgärdsområden på kort-, medel- och lång sikt vara framtagen.</a:t>
            </a:r>
          </a:p>
          <a:p>
            <a:pPr>
              <a:spcAft>
                <a:spcPts val="600"/>
              </a:spcAft>
            </a:pPr>
            <a:endParaRPr lang="sv-SE" sz="1800" dirty="0">
              <a:effectLst/>
              <a:latin typeface="+mj-lt"/>
              <a:ea typeface="Times New Roman" panose="02020603050405020304" pitchFamily="18" charset="0"/>
            </a:endParaRPr>
          </a:p>
          <a:p>
            <a:pPr>
              <a:spcAft>
                <a:spcPts val="600"/>
              </a:spcAft>
            </a:pPr>
            <a:r>
              <a:rPr lang="sv-SE" sz="1800" dirty="0">
                <a:effectLst/>
                <a:latin typeface="+mj-lt"/>
                <a:ea typeface="Times New Roman" panose="02020603050405020304" pitchFamily="18" charset="0"/>
              </a:rPr>
              <a:t>För att få en samlad bild av det arbete som pågår inom Sydöstra sjukvårdsregionen kommer punkten att återupptas och att respektive regions verksamhetsrepresentanter inom området bjuds involveras</a:t>
            </a:r>
            <a:r>
              <a:rPr lang="sv-SE" sz="1800" dirty="0">
                <a:effectLst/>
                <a:latin typeface="Times New Roman" panose="02020603050405020304" pitchFamily="18" charset="0"/>
                <a:ea typeface="Times New Roman" panose="02020603050405020304" pitchFamily="18" charset="0"/>
              </a:rPr>
              <a:t>. </a:t>
            </a:r>
          </a:p>
          <a:p>
            <a:endParaRPr lang="sv-SE" sz="1800" dirty="0">
              <a:effectLst/>
              <a:latin typeface="+mj-lt"/>
              <a:ea typeface="Times New Roman" panose="02020603050405020304" pitchFamily="18" charset="0"/>
            </a:endParaRPr>
          </a:p>
          <a:p>
            <a:endParaRPr lang="sv-SE" dirty="0"/>
          </a:p>
        </p:txBody>
      </p:sp>
    </p:spTree>
    <p:extLst>
      <p:ext uri="{BB962C8B-B14F-4D97-AF65-F5344CB8AC3E}">
        <p14:creationId xmlns:p14="http://schemas.microsoft.com/office/powerpoint/2010/main" val="2885955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467544" y="581996"/>
            <a:ext cx="8229600" cy="857250"/>
          </a:xfrm>
        </p:spPr>
        <p:txBody>
          <a:bodyPr>
            <a:noAutofit/>
          </a:bodyPr>
          <a:lstStyle/>
          <a:p>
            <a:pPr>
              <a:spcBef>
                <a:spcPts val="1200"/>
              </a:spcBef>
              <a:spcAft>
                <a:spcPts val="600"/>
              </a:spcAft>
              <a:tabLst>
                <a:tab pos="810260" algn="l"/>
              </a:tabLst>
            </a:pPr>
            <a:r>
              <a:rPr lang="sv-SE" sz="2000" dirty="0">
                <a:effectLst/>
                <a:latin typeface="+mj-lt"/>
                <a:ea typeface="Times New Roman" panose="02020603050405020304" pitchFamily="18" charset="0"/>
              </a:rPr>
              <a:t>Uppdaterad nationell cancerstrategi - arbete framåt i SÖSR</a:t>
            </a:r>
            <a:br>
              <a:rPr lang="sv-SE" sz="1800" b="1" dirty="0">
                <a:effectLst/>
                <a:latin typeface="Arial" panose="020B0604020202020204" pitchFamily="34" charset="0"/>
                <a:ea typeface="Times New Roman" panose="02020603050405020304" pitchFamily="18" charset="0"/>
              </a:rPr>
            </a:br>
            <a:br>
              <a:rPr lang="sv-SE" sz="1800" dirty="0">
                <a:effectLst/>
                <a:latin typeface="Times New Roman" panose="02020603050405020304" pitchFamily="18" charset="0"/>
                <a:ea typeface="Times New Roman" panose="02020603050405020304" pitchFamily="18" charset="0"/>
              </a:rPr>
            </a:br>
            <a:endParaRPr lang="sv-SE" sz="3200" dirty="0">
              <a:latin typeface="+mj-lt"/>
            </a:endParaRPr>
          </a:p>
        </p:txBody>
      </p:sp>
      <p:sp>
        <p:nvSpPr>
          <p:cNvPr id="3" name="Platshållare för innehåll 2"/>
          <p:cNvSpPr>
            <a:spLocks noGrp="1"/>
          </p:cNvSpPr>
          <p:nvPr>
            <p:ph idx="1"/>
          </p:nvPr>
        </p:nvSpPr>
        <p:spPr>
          <a:xfrm>
            <a:off x="539552" y="1167594"/>
            <a:ext cx="8157592" cy="2808311"/>
          </a:xfrm>
        </p:spPr>
        <p:txBody>
          <a:bodyPr>
            <a:noAutofit/>
          </a:bodyPr>
          <a:lstStyle/>
          <a:p>
            <a:pPr>
              <a:spcAft>
                <a:spcPts val="600"/>
              </a:spcAft>
            </a:pPr>
            <a:r>
              <a:rPr lang="sv-SE" sz="1800" dirty="0">
                <a:effectLst/>
                <a:latin typeface="+mj-lt"/>
                <a:ea typeface="Times New Roman" panose="02020603050405020304" pitchFamily="18" charset="0"/>
              </a:rPr>
              <a:t>LCCC (Linköping </a:t>
            </a:r>
            <a:r>
              <a:rPr lang="sv-SE" sz="1800" dirty="0" err="1">
                <a:effectLst/>
                <a:latin typeface="+mj-lt"/>
                <a:ea typeface="Times New Roman" panose="02020603050405020304" pitchFamily="18" charset="0"/>
              </a:rPr>
              <a:t>Comprehensive</a:t>
            </a:r>
            <a:r>
              <a:rPr lang="sv-SE" sz="1800" dirty="0">
                <a:effectLst/>
                <a:latin typeface="+mj-lt"/>
                <a:ea typeface="Times New Roman" panose="02020603050405020304" pitchFamily="18" charset="0"/>
              </a:rPr>
              <a:t> Cancer Center) förs nu diskussioner med OECI (Organisation </a:t>
            </a:r>
            <a:r>
              <a:rPr lang="sv-SE" sz="1800" dirty="0" err="1">
                <a:effectLst/>
                <a:latin typeface="+mj-lt"/>
                <a:ea typeface="Times New Roman" panose="02020603050405020304" pitchFamily="18" charset="0"/>
              </a:rPr>
              <a:t>of</a:t>
            </a:r>
            <a:r>
              <a:rPr lang="sv-SE" sz="1800" dirty="0">
                <a:effectLst/>
                <a:latin typeface="+mj-lt"/>
                <a:ea typeface="Times New Roman" panose="02020603050405020304" pitchFamily="18" charset="0"/>
              </a:rPr>
              <a:t> </a:t>
            </a:r>
            <a:r>
              <a:rPr lang="sv-SE" sz="1800" dirty="0" err="1">
                <a:effectLst/>
                <a:latin typeface="+mj-lt"/>
                <a:ea typeface="Times New Roman" panose="02020603050405020304" pitchFamily="18" charset="0"/>
              </a:rPr>
              <a:t>European</a:t>
            </a:r>
            <a:r>
              <a:rPr lang="sv-SE" sz="1800" dirty="0">
                <a:effectLst/>
                <a:latin typeface="+mj-lt"/>
                <a:ea typeface="Times New Roman" panose="02020603050405020304" pitchFamily="18" charset="0"/>
              </a:rPr>
              <a:t> Cancer </a:t>
            </a:r>
            <a:r>
              <a:rPr lang="sv-SE" sz="1800" dirty="0" err="1">
                <a:effectLst/>
                <a:latin typeface="+mj-lt"/>
                <a:ea typeface="Times New Roman" panose="02020603050405020304" pitchFamily="18" charset="0"/>
              </a:rPr>
              <a:t>Institutes</a:t>
            </a:r>
            <a:r>
              <a:rPr lang="sv-SE" sz="1800" dirty="0">
                <a:effectLst/>
                <a:latin typeface="+mj-lt"/>
                <a:ea typeface="Times New Roman" panose="02020603050405020304" pitchFamily="18" charset="0"/>
              </a:rPr>
              <a:t>) om genomförande av utvidgad ackreditering, där EU erbjuder stöd för att bilda CCCN (</a:t>
            </a:r>
            <a:r>
              <a:rPr lang="sv-SE" sz="1800" dirty="0" err="1">
                <a:effectLst/>
                <a:latin typeface="+mj-lt"/>
                <a:ea typeface="Times New Roman" panose="02020603050405020304" pitchFamily="18" charset="0"/>
              </a:rPr>
              <a:t>Comprehensive</a:t>
            </a:r>
            <a:r>
              <a:rPr lang="sv-SE" sz="1800" dirty="0">
                <a:effectLst/>
                <a:latin typeface="+mj-lt"/>
                <a:ea typeface="Times New Roman" panose="02020603050405020304" pitchFamily="18" charset="0"/>
              </a:rPr>
              <a:t> Cancer Care </a:t>
            </a:r>
            <a:r>
              <a:rPr lang="sv-SE" sz="1800" dirty="0" err="1">
                <a:effectLst/>
                <a:latin typeface="+mj-lt"/>
                <a:ea typeface="Times New Roman" panose="02020603050405020304" pitchFamily="18" charset="0"/>
              </a:rPr>
              <a:t>Network</a:t>
            </a:r>
            <a:r>
              <a:rPr lang="sv-SE" sz="1800" dirty="0">
                <a:effectLst/>
                <a:latin typeface="+mj-lt"/>
                <a:ea typeface="Times New Roman" panose="02020603050405020304" pitchFamily="18" charset="0"/>
              </a:rPr>
              <a:t>) av hela Sydöstra sjukvårdsregionen.</a:t>
            </a:r>
          </a:p>
          <a:p>
            <a:pPr>
              <a:spcAft>
                <a:spcPts val="600"/>
              </a:spcAft>
            </a:pPr>
            <a:endParaRPr lang="sv-SE" sz="1800" dirty="0">
              <a:effectLst/>
              <a:latin typeface="+mj-lt"/>
              <a:ea typeface="Times New Roman" panose="02020603050405020304" pitchFamily="18" charset="0"/>
            </a:endParaRPr>
          </a:p>
          <a:p>
            <a:pPr>
              <a:spcAft>
                <a:spcPts val="600"/>
              </a:spcAft>
            </a:pPr>
            <a:r>
              <a:rPr lang="sv-SE" sz="1800" dirty="0">
                <a:effectLst/>
                <a:latin typeface="+mj-lt"/>
                <a:ea typeface="Times New Roman" panose="02020603050405020304" pitchFamily="18" charset="0"/>
              </a:rPr>
              <a:t>Regionssjukvårdsledningen ställer sig bakom intresseanmälan från Sydöstra sjukvårdsregionen om att ingå i ett EU-projekt.  </a:t>
            </a:r>
          </a:p>
          <a:p>
            <a:pPr>
              <a:spcAft>
                <a:spcPts val="600"/>
              </a:spcAft>
            </a:pPr>
            <a:endParaRPr lang="sv-SE" sz="1800" dirty="0">
              <a:effectLst/>
              <a:latin typeface="+mj-lt"/>
              <a:ea typeface="Times New Roman" panose="02020603050405020304" pitchFamily="18" charset="0"/>
            </a:endParaRPr>
          </a:p>
        </p:txBody>
      </p:sp>
      <p:sp>
        <p:nvSpPr>
          <p:cNvPr id="5" name="Rubrik 1"/>
          <p:cNvSpPr txBox="1">
            <a:spLocks/>
          </p:cNvSpPr>
          <p:nvPr/>
        </p:nvSpPr>
        <p:spPr>
          <a:xfrm>
            <a:off x="467544" y="411510"/>
            <a:ext cx="8229600"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a:lstStyle>
          <a:p>
            <a:endParaRPr lang="sv-SE" sz="3600" dirty="0"/>
          </a:p>
        </p:txBody>
      </p:sp>
    </p:spTree>
    <p:extLst>
      <p:ext uri="{BB962C8B-B14F-4D97-AF65-F5344CB8AC3E}">
        <p14:creationId xmlns:p14="http://schemas.microsoft.com/office/powerpoint/2010/main" val="30172489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473294" y="411510"/>
            <a:ext cx="8229600" cy="857250"/>
          </a:xfrm>
        </p:spPr>
        <p:txBody>
          <a:bodyPr>
            <a:noAutofit/>
          </a:bodyPr>
          <a:lstStyle/>
          <a:p>
            <a:r>
              <a:rPr lang="sv-SE" sz="2400" dirty="0">
                <a:effectLst/>
                <a:latin typeface="+mj-lt"/>
                <a:ea typeface="Times New Roman" panose="02020603050405020304" pitchFamily="18" charset="0"/>
              </a:rPr>
              <a:t>Överenskommelsen (cancer) 2025 – </a:t>
            </a:r>
            <a:br>
              <a:rPr lang="sv-SE" sz="2400" dirty="0">
                <a:effectLst/>
                <a:latin typeface="+mj-lt"/>
                <a:ea typeface="Times New Roman" panose="02020603050405020304" pitchFamily="18" charset="0"/>
              </a:rPr>
            </a:br>
            <a:r>
              <a:rPr lang="sv-SE" sz="2400" dirty="0">
                <a:effectLst/>
                <a:latin typeface="+mj-lt"/>
                <a:ea typeface="Times New Roman" panose="02020603050405020304" pitchFamily="18" charset="0"/>
              </a:rPr>
              <a:t>Processmedel och utlysning av förbättringsarbeten  </a:t>
            </a:r>
            <a:r>
              <a:rPr lang="sv-SE" sz="2400" dirty="0">
                <a:effectLst/>
                <a:latin typeface="+mj-lt"/>
              </a:rPr>
              <a:t> </a:t>
            </a:r>
            <a:r>
              <a:rPr lang="sv-SE" sz="2400" dirty="0">
                <a:effectLst/>
                <a:latin typeface="+mj-lt"/>
                <a:ea typeface="Times New Roman" panose="02020603050405020304" pitchFamily="18" charset="0"/>
              </a:rPr>
              <a:t> </a:t>
            </a:r>
          </a:p>
        </p:txBody>
      </p:sp>
      <p:sp>
        <p:nvSpPr>
          <p:cNvPr id="3" name="Platshållare för innehåll 2"/>
          <p:cNvSpPr>
            <a:spLocks noGrp="1"/>
          </p:cNvSpPr>
          <p:nvPr>
            <p:ph idx="1"/>
          </p:nvPr>
        </p:nvSpPr>
        <p:spPr>
          <a:xfrm>
            <a:off x="683568" y="1707654"/>
            <a:ext cx="6851104" cy="2808311"/>
          </a:xfrm>
        </p:spPr>
        <p:txBody>
          <a:bodyPr>
            <a:noAutofit/>
          </a:bodyPr>
          <a:lstStyle/>
          <a:p>
            <a:pPr>
              <a:spcAft>
                <a:spcPts val="600"/>
              </a:spcAft>
            </a:pPr>
            <a:r>
              <a:rPr lang="sv-SE" sz="1800" dirty="0">
                <a:latin typeface="+mj-lt"/>
                <a:ea typeface="Times New Roman" panose="02020603050405020304" pitchFamily="18" charset="0"/>
              </a:rPr>
              <a:t>F</a:t>
            </a:r>
            <a:r>
              <a:rPr lang="sv-SE" sz="1800" dirty="0">
                <a:effectLst/>
                <a:latin typeface="+mj-lt"/>
                <a:ea typeface="Times New Roman" panose="02020603050405020304" pitchFamily="18" charset="0"/>
              </a:rPr>
              <a:t>ördelning av ansökningar gällande statligt tilldelade medel. </a:t>
            </a:r>
          </a:p>
          <a:p>
            <a:pPr>
              <a:spcAft>
                <a:spcPts val="600"/>
              </a:spcAft>
            </a:pPr>
            <a:r>
              <a:rPr lang="sv-SE" sz="1800" dirty="0">
                <a:effectLst/>
                <a:latin typeface="+mj-lt"/>
                <a:ea typeface="Times New Roman" panose="02020603050405020304" pitchFamily="18" charset="0"/>
              </a:rPr>
              <a:t>Drygt 70 ansökningar har inkommit till de fyra satsningarna (patologi, bilddiagnostik, cancerrehabilitering och palliativ vård).</a:t>
            </a:r>
          </a:p>
        </p:txBody>
      </p:sp>
      <p:sp>
        <p:nvSpPr>
          <p:cNvPr id="5" name="Rubrik 1"/>
          <p:cNvSpPr txBox="1">
            <a:spLocks/>
          </p:cNvSpPr>
          <p:nvPr/>
        </p:nvSpPr>
        <p:spPr>
          <a:xfrm>
            <a:off x="467544" y="411510"/>
            <a:ext cx="8229600"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a:lstStyle>
          <a:p>
            <a:endParaRPr lang="sv-SE" sz="3600" dirty="0"/>
          </a:p>
        </p:txBody>
      </p:sp>
    </p:spTree>
    <p:extLst>
      <p:ext uri="{BB962C8B-B14F-4D97-AF65-F5344CB8AC3E}">
        <p14:creationId xmlns:p14="http://schemas.microsoft.com/office/powerpoint/2010/main" val="34568923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473294" y="411510"/>
            <a:ext cx="8229600" cy="857250"/>
          </a:xfrm>
        </p:spPr>
        <p:txBody>
          <a:bodyPr>
            <a:noAutofit/>
          </a:bodyPr>
          <a:lstStyle/>
          <a:p>
            <a:r>
              <a:rPr lang="sv-SE" sz="3200" dirty="0">
                <a:latin typeface="+mj-lt"/>
              </a:rPr>
              <a:t>Nomineringar</a:t>
            </a:r>
          </a:p>
        </p:txBody>
      </p:sp>
      <p:sp>
        <p:nvSpPr>
          <p:cNvPr id="3" name="Platshållare för innehåll 2"/>
          <p:cNvSpPr>
            <a:spLocks noGrp="1"/>
          </p:cNvSpPr>
          <p:nvPr>
            <p:ph idx="1"/>
          </p:nvPr>
        </p:nvSpPr>
        <p:spPr>
          <a:xfrm>
            <a:off x="461794" y="1268760"/>
            <a:ext cx="8070646" cy="3103190"/>
          </a:xfrm>
        </p:spPr>
        <p:txBody>
          <a:bodyPr>
            <a:noAutofit/>
          </a:bodyPr>
          <a:lstStyle/>
          <a:p>
            <a:pPr>
              <a:spcAft>
                <a:spcPts val="600"/>
              </a:spcAft>
            </a:pPr>
            <a:r>
              <a:rPr lang="sv-SE" sz="1600" dirty="0">
                <a:effectLst/>
                <a:latin typeface="+mj-lt"/>
                <a:ea typeface="Times New Roman" panose="02020603050405020304" pitchFamily="18" charset="0"/>
              </a:rPr>
              <a:t>Beredning i respektive regions ledningsstruktur har genomförts , RSL tog beslut att stå bakom nominering av nedan angivna personer</a:t>
            </a:r>
          </a:p>
          <a:p>
            <a:pPr marL="285750" indent="-285750">
              <a:spcAft>
                <a:spcPts val="600"/>
              </a:spcAft>
              <a:buFont typeface="Arial" panose="020B0604020202020204" pitchFamily="34" charset="0"/>
              <a:buChar char="•"/>
            </a:pPr>
            <a:r>
              <a:rPr lang="sv-SE" sz="1600" dirty="0">
                <a:effectLst/>
                <a:latin typeface="+mj-lt"/>
                <a:ea typeface="Times New Roman" panose="02020603050405020304" pitchFamily="18" charset="0"/>
              </a:rPr>
              <a:t>Ordinarie ledamot Kunskapsstyrningens beredningsgrupp (BG), Sofia Persson Region Jönköpings län</a:t>
            </a:r>
          </a:p>
          <a:p>
            <a:pPr marL="285750" indent="-285750">
              <a:spcAft>
                <a:spcPts val="600"/>
              </a:spcAft>
              <a:buFont typeface="Arial" panose="020B0604020202020204" pitchFamily="34" charset="0"/>
              <a:buChar char="•"/>
            </a:pPr>
            <a:r>
              <a:rPr lang="sv-SE" sz="1600" dirty="0">
                <a:effectLst/>
                <a:latin typeface="+mj-lt"/>
                <a:ea typeface="Times New Roman" panose="02020603050405020304" pitchFamily="18" charset="0"/>
              </a:rPr>
              <a:t>Ledamot Samrådsfunktion för jävsbedömningar, Mårten Lindström Region Jönköpings län</a:t>
            </a:r>
          </a:p>
          <a:p>
            <a:pPr marL="285750" indent="-285750">
              <a:spcAft>
                <a:spcPts val="600"/>
              </a:spcAft>
              <a:buFont typeface="Arial" panose="020B0604020202020204" pitchFamily="34" charset="0"/>
              <a:buChar char="•"/>
            </a:pPr>
            <a:r>
              <a:rPr lang="sv-SE" sz="1600" dirty="0">
                <a:effectLst/>
                <a:latin typeface="+mj-lt"/>
                <a:ea typeface="Times New Roman" panose="02020603050405020304" pitchFamily="18" charset="0"/>
              </a:rPr>
              <a:t>Medicinsk sakkunnig, SKRs stödfunktion, Simon Rundquist Region Jönköpings län</a:t>
            </a:r>
          </a:p>
          <a:p>
            <a:pPr marL="285750" indent="-285750">
              <a:spcAft>
                <a:spcPts val="600"/>
              </a:spcAft>
              <a:buFont typeface="Arial" panose="020B0604020202020204" pitchFamily="34" charset="0"/>
              <a:buChar char="•"/>
            </a:pPr>
            <a:r>
              <a:rPr lang="sv-SE" sz="1600" dirty="0">
                <a:effectLst/>
                <a:latin typeface="+mj-lt"/>
                <a:ea typeface="Times New Roman" panose="02020603050405020304" pitchFamily="18" charset="0"/>
              </a:rPr>
              <a:t>Sydöstra sjukvårdsregionens representant i nätverket ”Sjukvårdsregionernas kanslichefer”, Lotta Lindqvist Region Östergötland</a:t>
            </a:r>
          </a:p>
          <a:p>
            <a:pPr>
              <a:spcAft>
                <a:spcPts val="600"/>
              </a:spcAft>
            </a:pPr>
            <a:endParaRPr lang="sv-SE" sz="1800" dirty="0">
              <a:effectLst/>
              <a:latin typeface="+mj-lt"/>
              <a:ea typeface="Times New Roman" panose="02020603050405020304" pitchFamily="18" charset="0"/>
            </a:endParaRPr>
          </a:p>
        </p:txBody>
      </p:sp>
      <p:sp>
        <p:nvSpPr>
          <p:cNvPr id="5" name="Rubrik 1"/>
          <p:cNvSpPr txBox="1">
            <a:spLocks/>
          </p:cNvSpPr>
          <p:nvPr/>
        </p:nvSpPr>
        <p:spPr>
          <a:xfrm>
            <a:off x="467544" y="411510"/>
            <a:ext cx="8229600" cy="85725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000" kern="1200">
                <a:solidFill>
                  <a:schemeClr val="tx1"/>
                </a:solidFill>
                <a:latin typeface="Arial" panose="020B0604020202020204" pitchFamily="34" charset="0"/>
                <a:ea typeface="+mj-ea"/>
                <a:cs typeface="Arial" panose="020B0604020202020204" pitchFamily="34" charset="0"/>
              </a:defRPr>
            </a:lvl1pPr>
          </a:lstStyle>
          <a:p>
            <a:endParaRPr lang="sv-SE" sz="3600" dirty="0"/>
          </a:p>
        </p:txBody>
      </p:sp>
    </p:spTree>
    <p:extLst>
      <p:ext uri="{BB962C8B-B14F-4D97-AF65-F5344CB8AC3E}">
        <p14:creationId xmlns:p14="http://schemas.microsoft.com/office/powerpoint/2010/main" val="3744102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jqTqNSDi2sVuztAOR1etg"/>
</p:tagLst>
</file>

<file path=ppt/tags/tag4.xml><?xml version="1.0" encoding="utf-8"?>
<p:tagLst xmlns:a="http://schemas.openxmlformats.org/drawingml/2006/main" xmlns:r="http://schemas.openxmlformats.org/officeDocument/2006/relationships" xmlns:p="http://schemas.openxmlformats.org/presentationml/2006/main">
  <p:tag name="TAG_LANGUAGETEXTBOX" val="Sv"/>
</p:tagLst>
</file>

<file path=ppt/theme/theme1.xml><?xml version="1.0" encoding="utf-8"?>
<a:theme xmlns:a="http://schemas.openxmlformats.org/drawingml/2006/main" name="Office-tema">
  <a:themeElements>
    <a:clrScheme name="Anpassat 7">
      <a:dk1>
        <a:srgbClr val="363636"/>
      </a:dk1>
      <a:lt1>
        <a:srgbClr val="FFFFFF"/>
      </a:lt1>
      <a:dk2>
        <a:srgbClr val="0066B3"/>
      </a:dk2>
      <a:lt2>
        <a:srgbClr val="EF4044"/>
      </a:lt2>
      <a:accent1>
        <a:srgbClr val="0066B3"/>
      </a:accent1>
      <a:accent2>
        <a:srgbClr val="BC151C"/>
      </a:accent2>
      <a:accent3>
        <a:srgbClr val="EF4044"/>
      </a:accent3>
      <a:accent4>
        <a:srgbClr val="F2CF68"/>
      </a:accent4>
      <a:accent5>
        <a:srgbClr val="F2CD13"/>
      </a:accent5>
      <a:accent6>
        <a:srgbClr val="BFBFBF"/>
      </a:accent6>
      <a:hlink>
        <a:srgbClr val="0066B3"/>
      </a:hlink>
      <a:folHlink>
        <a:srgbClr val="0066B3"/>
      </a:folHlink>
    </a:clrScheme>
    <a:fontScheme name="Office - klassiskt">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Region Östergötland">
  <a:themeElements>
    <a:clrScheme name="Region Östergötland 1">
      <a:dk1>
        <a:sysClr val="windowText" lastClr="000000"/>
      </a:dk1>
      <a:lt1>
        <a:sysClr val="window" lastClr="FFFFFF"/>
      </a:lt1>
      <a:dk2>
        <a:srgbClr val="FB575C"/>
      </a:dk2>
      <a:lt2>
        <a:srgbClr val="0861CE"/>
      </a:lt2>
      <a:accent1>
        <a:srgbClr val="182745"/>
      </a:accent1>
      <a:accent2>
        <a:srgbClr val="EBECF0"/>
      </a:accent2>
      <a:accent3>
        <a:srgbClr val="4D648A"/>
      </a:accent3>
      <a:accent4>
        <a:srgbClr val="0861CE"/>
      </a:accent4>
      <a:accent5>
        <a:srgbClr val="707580"/>
      </a:accent5>
      <a:accent6>
        <a:srgbClr val="242831"/>
      </a:accent6>
      <a:hlink>
        <a:srgbClr val="000000"/>
      </a:hlink>
      <a:folHlink>
        <a:srgbClr val="000000"/>
      </a:folHlink>
    </a:clrScheme>
    <a:fontScheme name="Region Östergötland Ny">
      <a:majorFont>
        <a:latin typeface="Roboto Light"/>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11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2000" smtClean="0">
            <a:latin typeface="+mj-lt"/>
          </a:defRPr>
        </a:defPPr>
      </a:lstStyle>
    </a:txDef>
  </a:objectDefaults>
  <a:extraClrSchemeLst/>
  <a:extLst>
    <a:ext uri="{05A4C25C-085E-4340-85A3-A5531E510DB2}">
      <thm15:themeFamily xmlns:thm15="http://schemas.microsoft.com/office/thememl/2012/main" name="Startbild.pptx  -  Skrivskyddad" id="{CF37655C-90A6-424E-9B54-46D6A045F071}" vid="{726C345F-4439-4E0E-B5A8-86136D5FEC61}"/>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385</TotalTime>
  <Words>1048</Words>
  <Application>Microsoft Office PowerPoint</Application>
  <PresentationFormat>Bildspel på skärmen (16:9)</PresentationFormat>
  <Paragraphs>115</Paragraphs>
  <Slides>21</Slides>
  <Notes>12</Notes>
  <HiddenSlides>0</HiddenSlides>
  <MMClips>0</MMClips>
  <ScaleCrop>false</ScaleCrop>
  <HeadingPairs>
    <vt:vector size="8" baseType="variant">
      <vt:variant>
        <vt:lpstr>Använt teckensnitt</vt:lpstr>
      </vt:variant>
      <vt:variant>
        <vt:i4>6</vt:i4>
      </vt:variant>
      <vt:variant>
        <vt:lpstr>Tema</vt:lpstr>
      </vt:variant>
      <vt:variant>
        <vt:i4>2</vt:i4>
      </vt:variant>
      <vt:variant>
        <vt:lpstr>Serverprogram för OLE-inbäddning</vt:lpstr>
      </vt:variant>
      <vt:variant>
        <vt:i4>1</vt:i4>
      </vt:variant>
      <vt:variant>
        <vt:lpstr>Bildrubriker</vt:lpstr>
      </vt:variant>
      <vt:variant>
        <vt:i4>21</vt:i4>
      </vt:variant>
    </vt:vector>
  </HeadingPairs>
  <TitlesOfParts>
    <vt:vector size="30" baseType="lpstr">
      <vt:lpstr>Aptos</vt:lpstr>
      <vt:lpstr>Arial</vt:lpstr>
      <vt:lpstr>Calibri</vt:lpstr>
      <vt:lpstr>Roboto</vt:lpstr>
      <vt:lpstr>Symbol</vt:lpstr>
      <vt:lpstr>Times New Roman</vt:lpstr>
      <vt:lpstr>Office-tema</vt:lpstr>
      <vt:lpstr>Region Östergötland</vt:lpstr>
      <vt:lpstr>think-cell Slide</vt:lpstr>
      <vt:lpstr>  anteckningar  RSG nätverk 2025-04-25   </vt:lpstr>
      <vt:lpstr>Agenda</vt:lpstr>
      <vt:lpstr> Regionsjukvårdsledningen  10 april 2025   Sammanfattande information</vt:lpstr>
      <vt:lpstr>Aktuellt från RSL au</vt:lpstr>
      <vt:lpstr>NAG kvalitetsregister/konsolidering CPUA</vt:lpstr>
      <vt:lpstr>Nationell färdplan för precisionsmedicin</vt:lpstr>
      <vt:lpstr>Uppdaterad nationell cancerstrategi - arbete framåt i SÖSR  </vt:lpstr>
      <vt:lpstr>Överenskommelsen (cancer) 2025 –  Processmedel och utlysning av förbättringsarbeten    </vt:lpstr>
      <vt:lpstr>Nomineringar</vt:lpstr>
      <vt:lpstr>Nationell högspecialiserad vård</vt:lpstr>
      <vt:lpstr>Samverkansmodell för intensivvårdstransporter med US som bas   </vt:lpstr>
      <vt:lpstr>Mötesanteckningar och bilagor</vt:lpstr>
      <vt:lpstr>PowerPoint-presentation</vt:lpstr>
      <vt:lpstr>Nästa möte</vt:lpstr>
      <vt:lpstr>Kort rapport från var och en</vt:lpstr>
      <vt:lpstr>RSG standardisering Magnus Stridsman </vt:lpstr>
      <vt:lpstr>Informationssäkerhet</vt:lpstr>
      <vt:lpstr>Innovationsledning</vt:lpstr>
      <vt:lpstr>Molntjänster</vt:lpstr>
      <vt:lpstr>Renrum</vt:lpstr>
      <vt:lpstr>RSG upphandling    Carina Mattsson Sandberg </vt:lpstr>
    </vt:vector>
  </TitlesOfParts>
  <Company>Region Jönköpings lä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Thålin Conny</dc:creator>
  <cp:lastModifiedBy>Leni Lagerqvist</cp:lastModifiedBy>
  <cp:revision>251</cp:revision>
  <dcterms:created xsi:type="dcterms:W3CDTF">2018-10-12T09:18:07Z</dcterms:created>
  <dcterms:modified xsi:type="dcterms:W3CDTF">2025-05-07T12:41:57Z</dcterms:modified>
</cp:coreProperties>
</file>